
<file path=[Content_Types].xml><?xml version="1.0" encoding="utf-8"?>
<Types xmlns="http://schemas.openxmlformats.org/package/2006/content-types"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3.xml" ContentType="application/vnd.openxmlformats-officedocument.theme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4.xml" ContentType="application/vnd.openxmlformats-officedocument.theme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heme/theme5.xml" ContentType="application/vnd.openxmlformats-officedocument.theme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theme/theme6.xml" ContentType="application/vnd.openxmlformats-officedocument.theme+xml"/>
  <Override PartName="/ppt/theme/theme7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ink/ink1.xml" ContentType="application/inkml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ink/ink2.xml" ContentType="application/inkml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8" r:id="rId4"/>
    <p:sldMasterId id="2147483708" r:id="rId5"/>
    <p:sldMasterId id="2147483688" r:id="rId6"/>
    <p:sldMasterId id="2147483698" r:id="rId7"/>
    <p:sldMasterId id="2147483658" r:id="rId8"/>
    <p:sldMasterId id="2147483668" r:id="rId9"/>
  </p:sldMasterIdLst>
  <p:notesMasterIdLst>
    <p:notesMasterId r:id="rId24"/>
  </p:notesMasterIdLst>
  <p:sldIdLst>
    <p:sldId id="1288" r:id="rId10"/>
    <p:sldId id="1295" r:id="rId11"/>
    <p:sldId id="704" r:id="rId12"/>
    <p:sldId id="705" r:id="rId13"/>
    <p:sldId id="1299" r:id="rId14"/>
    <p:sldId id="1300" r:id="rId15"/>
    <p:sldId id="1318" r:id="rId16"/>
    <p:sldId id="1319" r:id="rId17"/>
    <p:sldId id="734" r:id="rId18"/>
    <p:sldId id="1301" r:id="rId19"/>
    <p:sldId id="1312" r:id="rId20"/>
    <p:sldId id="1316" r:id="rId21"/>
    <p:sldId id="1317" r:id="rId22"/>
    <p:sldId id="274" r:id="rId23"/>
  </p:sldIdLst>
  <p:sldSz cx="12192000" cy="6858000"/>
  <p:notesSz cx="6858000" cy="9144000"/>
  <p:defaultTextStyle>
    <a:defPPr>
      <a:defRPr lang="sk-SK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6EB33472-4038-4940-8464-F66A0EACB609}">
          <p14:sldIdLst>
            <p14:sldId id="1288"/>
            <p14:sldId id="1295"/>
            <p14:sldId id="704"/>
            <p14:sldId id="705"/>
            <p14:sldId id="1299"/>
            <p14:sldId id="1300"/>
            <p14:sldId id="1318"/>
            <p14:sldId id="1319"/>
            <p14:sldId id="734"/>
            <p14:sldId id="1301"/>
            <p14:sldId id="1312"/>
            <p14:sldId id="1316"/>
            <p14:sldId id="1317"/>
            <p14:sldId id="274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264EEC8-A8C1-45B9-9490-2FCE6503189C}" v="1" dt="2026-04-07T07:22:06.130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95" autoAdjust="0"/>
    <p:restoredTop sz="94660"/>
  </p:normalViewPr>
  <p:slideViewPr>
    <p:cSldViewPr snapToGrid="0">
      <p:cViewPr varScale="1">
        <p:scale>
          <a:sx n="152" d="100"/>
          <a:sy n="152" d="100"/>
        </p:scale>
        <p:origin x="652" y="10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4.xml"/><Relationship Id="rId18" Type="http://schemas.openxmlformats.org/officeDocument/2006/relationships/slide" Target="slides/slide9.xml"/><Relationship Id="rId26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2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3.xml"/><Relationship Id="rId17" Type="http://schemas.openxmlformats.org/officeDocument/2006/relationships/slide" Target="slides/slide8.xml"/><Relationship Id="rId25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7.xml"/><Relationship Id="rId20" Type="http://schemas.openxmlformats.org/officeDocument/2006/relationships/slide" Target="slides/slide11.xml"/><Relationship Id="rId29" Type="http://schemas.microsoft.com/office/2016/11/relationships/changesInfo" Target="changesInfos/changesInfo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2.xml"/><Relationship Id="rId24" Type="http://schemas.openxmlformats.org/officeDocument/2006/relationships/notesMaster" Target="notesMasters/notesMaster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6.xml"/><Relationship Id="rId23" Type="http://schemas.openxmlformats.org/officeDocument/2006/relationships/slide" Target="slides/slide14.xml"/><Relationship Id="rId28" Type="http://schemas.openxmlformats.org/officeDocument/2006/relationships/tableStyles" Target="tableStyles.xml"/><Relationship Id="rId10" Type="http://schemas.openxmlformats.org/officeDocument/2006/relationships/slide" Target="slides/slide1.xml"/><Relationship Id="rId19" Type="http://schemas.openxmlformats.org/officeDocument/2006/relationships/slide" Target="slides/slide10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5.xml"/><Relationship Id="rId22" Type="http://schemas.openxmlformats.org/officeDocument/2006/relationships/slide" Target="slides/slide13.xml"/><Relationship Id="rId27" Type="http://schemas.openxmlformats.org/officeDocument/2006/relationships/theme" Target="theme/theme1.xml"/><Relationship Id="rId30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Lubor Janda" userId="f146bb96-2bb2-4680-a355-288d53a29f1c" providerId="ADAL" clId="{871B4259-9C1E-4244-9FE4-F9EA0DCAA5DF}"/>
    <pc:docChg chg="modSld">
      <pc:chgData name="Lubor Janda" userId="f146bb96-2bb2-4680-a355-288d53a29f1c" providerId="ADAL" clId="{871B4259-9C1E-4244-9FE4-F9EA0DCAA5DF}" dt="2026-04-07T07:22:06.130" v="0"/>
      <pc:docMkLst>
        <pc:docMk/>
      </pc:docMkLst>
      <pc:sldChg chg="modSp">
        <pc:chgData name="Lubor Janda" userId="f146bb96-2bb2-4680-a355-288d53a29f1c" providerId="ADAL" clId="{871B4259-9C1E-4244-9FE4-F9EA0DCAA5DF}" dt="2026-04-07T07:22:06.130" v="0"/>
        <pc:sldMkLst>
          <pc:docMk/>
          <pc:sldMk cId="2033927893" sldId="259"/>
        </pc:sldMkLst>
        <pc:spChg chg="mod">
          <ac:chgData name="Lubor Janda" userId="f146bb96-2bb2-4680-a355-288d53a29f1c" providerId="ADAL" clId="{871B4259-9C1E-4244-9FE4-F9EA0DCAA5DF}" dt="2026-04-07T07:22:06.130" v="0"/>
          <ac:spMkLst>
            <pc:docMk/>
            <pc:sldMk cId="2033927893" sldId="259"/>
            <ac:spMk id="2" creationId="{42D0E3BE-4908-F12E-BBBA-68C656C86ADC}"/>
          </ac:spMkLst>
        </pc:spChg>
        <pc:spChg chg="mod">
          <ac:chgData name="Lubor Janda" userId="f146bb96-2bb2-4680-a355-288d53a29f1c" providerId="ADAL" clId="{871B4259-9C1E-4244-9FE4-F9EA0DCAA5DF}" dt="2026-04-07T07:22:06.130" v="0"/>
          <ac:spMkLst>
            <pc:docMk/>
            <pc:sldMk cId="2033927893" sldId="259"/>
            <ac:spMk id="3" creationId="{20095AFD-EE39-2B64-13EC-338770DE6B00}"/>
          </ac:spMkLst>
        </pc:spChg>
      </pc:sldChg>
      <pc:sldChg chg="modSp">
        <pc:chgData name="Lubor Janda" userId="f146bb96-2bb2-4680-a355-288d53a29f1c" providerId="ADAL" clId="{871B4259-9C1E-4244-9FE4-F9EA0DCAA5DF}" dt="2026-04-07T07:22:06.130" v="0"/>
        <pc:sldMkLst>
          <pc:docMk/>
          <pc:sldMk cId="1451351000" sldId="260"/>
        </pc:sldMkLst>
        <pc:spChg chg="mod">
          <ac:chgData name="Lubor Janda" userId="f146bb96-2bb2-4680-a355-288d53a29f1c" providerId="ADAL" clId="{871B4259-9C1E-4244-9FE4-F9EA0DCAA5DF}" dt="2026-04-07T07:22:06.130" v="0"/>
          <ac:spMkLst>
            <pc:docMk/>
            <pc:sldMk cId="1451351000" sldId="260"/>
            <ac:spMk id="2" creationId="{A368E313-BFE9-91B7-6380-B45D41EBF7A8}"/>
          </ac:spMkLst>
        </pc:spChg>
      </pc:sldChg>
      <pc:sldChg chg="modSp">
        <pc:chgData name="Lubor Janda" userId="f146bb96-2bb2-4680-a355-288d53a29f1c" providerId="ADAL" clId="{871B4259-9C1E-4244-9FE4-F9EA0DCAA5DF}" dt="2026-04-07T07:22:06.130" v="0"/>
        <pc:sldMkLst>
          <pc:docMk/>
          <pc:sldMk cId="4129167670" sldId="263"/>
        </pc:sldMkLst>
        <pc:spChg chg="mod">
          <ac:chgData name="Lubor Janda" userId="f146bb96-2bb2-4680-a355-288d53a29f1c" providerId="ADAL" clId="{871B4259-9C1E-4244-9FE4-F9EA0DCAA5DF}" dt="2026-04-07T07:22:06.130" v="0"/>
          <ac:spMkLst>
            <pc:docMk/>
            <pc:sldMk cId="4129167670" sldId="263"/>
            <ac:spMk id="2" creationId="{354D702C-D27E-572F-4ABC-C0D78BE51796}"/>
          </ac:spMkLst>
        </pc:spChg>
        <pc:spChg chg="mod">
          <ac:chgData name="Lubor Janda" userId="f146bb96-2bb2-4680-a355-288d53a29f1c" providerId="ADAL" clId="{871B4259-9C1E-4244-9FE4-F9EA0DCAA5DF}" dt="2026-04-07T07:22:06.130" v="0"/>
          <ac:spMkLst>
            <pc:docMk/>
            <pc:sldMk cId="4129167670" sldId="263"/>
            <ac:spMk id="3" creationId="{08EF2FBA-948F-CEC0-5ECE-670AA2807221}"/>
          </ac:spMkLst>
        </pc:spChg>
      </pc:sldChg>
    </pc:docChg>
  </pc:docChgLst>
</pc:chgInfo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3CB222EE-C9FE-44A0-9D82-7FD013C91414}" type="doc">
      <dgm:prSet loTypeId="urn:microsoft.com/office/officeart/2005/8/layout/vList3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cs-CZ"/>
        </a:p>
      </dgm:t>
    </dgm:pt>
    <dgm:pt modelId="{E3B80519-9651-47B8-A5E8-41ABBD0CDBCE}">
      <dgm:prSet custT="1"/>
      <dgm:spPr>
        <a:solidFill>
          <a:srgbClr val="B2B2B2"/>
        </a:solidFill>
      </dgm:spPr>
      <dgm:t>
        <a:bodyPr/>
        <a:lstStyle/>
        <a:p>
          <a:r>
            <a:rPr lang="cs-CZ" sz="2000" b="1" noProof="0" dirty="0">
              <a:solidFill>
                <a:schemeClr val="tx2"/>
              </a:solidFill>
              <a:latin typeface="Tw Cen MT" panose="020B0602020104020603" pitchFamily="34" charset="-18"/>
            </a:rPr>
            <a:t>Efektivní řešení </a:t>
          </a:r>
          <a:r>
            <a:rPr lang="cs-CZ" sz="2000" b="1" noProof="0" dirty="0" err="1">
              <a:solidFill>
                <a:schemeClr val="tx2"/>
              </a:solidFill>
              <a:latin typeface="Tw Cen MT" panose="020B0602020104020603" pitchFamily="34" charset="-18"/>
            </a:rPr>
            <a:t>kyber</a:t>
          </a:r>
          <a:r>
            <a:rPr lang="cs-CZ" sz="2000" b="1" noProof="0" dirty="0">
              <a:solidFill>
                <a:schemeClr val="tx2"/>
              </a:solidFill>
              <a:latin typeface="Tw Cen MT" panose="020B0602020104020603" pitchFamily="34" charset="-18"/>
            </a:rPr>
            <a:t>. Incidentu.</a:t>
          </a:r>
        </a:p>
      </dgm:t>
    </dgm:pt>
    <dgm:pt modelId="{51837BA8-AE59-44AE-9EC4-4652B2AE9865}" type="parTrans" cxnId="{3A197944-2E8B-41C4-BA3E-1574D28D1C57}">
      <dgm:prSet/>
      <dgm:spPr/>
      <dgm:t>
        <a:bodyPr/>
        <a:lstStyle/>
        <a:p>
          <a:endParaRPr lang="cs-CZ" sz="2000" b="1">
            <a:solidFill>
              <a:schemeClr val="tx2"/>
            </a:solidFill>
            <a:latin typeface="Tw Cen MT" panose="020B0602020104020603" pitchFamily="34" charset="-18"/>
          </a:endParaRPr>
        </a:p>
      </dgm:t>
    </dgm:pt>
    <dgm:pt modelId="{2239A632-BC77-405C-9732-A0931C35B8FD}" type="sibTrans" cxnId="{3A197944-2E8B-41C4-BA3E-1574D28D1C57}">
      <dgm:prSet/>
      <dgm:spPr/>
      <dgm:t>
        <a:bodyPr/>
        <a:lstStyle/>
        <a:p>
          <a:endParaRPr lang="cs-CZ" sz="2000" b="1">
            <a:solidFill>
              <a:schemeClr val="tx2"/>
            </a:solidFill>
            <a:latin typeface="Tw Cen MT" panose="020B0602020104020603" pitchFamily="34" charset="-18"/>
          </a:endParaRPr>
        </a:p>
      </dgm:t>
    </dgm:pt>
    <dgm:pt modelId="{B5F46752-3A40-4A75-BEC5-C760EFAB5581}">
      <dgm:prSet custT="1"/>
      <dgm:spPr>
        <a:solidFill>
          <a:srgbClr val="B2B2B2"/>
        </a:solidFill>
      </dgm:spPr>
      <dgm:t>
        <a:bodyPr/>
        <a:lstStyle/>
        <a:p>
          <a:r>
            <a:rPr lang="sk-SK" sz="2000" b="1" kern="1200" noProof="0" dirty="0">
              <a:solidFill>
                <a:srgbClr val="3F3F3F"/>
              </a:solidFill>
              <a:latin typeface="Tw Cen MT" panose="020B0602020104020603" pitchFamily="34" charset="-18"/>
              <a:ea typeface="+mn-ea"/>
              <a:cs typeface="+mn-cs"/>
            </a:rPr>
            <a:t>Lepší a </a:t>
          </a:r>
          <a:r>
            <a:rPr lang="sk-SK" sz="2000" b="1" kern="1200" noProof="0" dirty="0">
              <a:solidFill>
                <a:schemeClr val="tx1"/>
              </a:solidFill>
              <a:latin typeface="Tw Cen MT" panose="020B0602020104020603" pitchFamily="34" charset="-18"/>
              <a:ea typeface="+mn-ea"/>
              <a:cs typeface="+mn-cs"/>
            </a:rPr>
            <a:t>intenzívnejší</a:t>
          </a:r>
          <a:r>
            <a:rPr lang="sk-SK" sz="2000" b="1" kern="1200" noProof="0" dirty="0">
              <a:solidFill>
                <a:srgbClr val="3F3F3F"/>
              </a:solidFill>
              <a:latin typeface="Tw Cen MT" panose="020B0602020104020603" pitchFamily="34" charset="-18"/>
              <a:ea typeface="+mn-ea"/>
              <a:cs typeface="+mn-cs"/>
            </a:rPr>
            <a:t> spolupráce </a:t>
          </a:r>
          <a:r>
            <a:rPr lang="cs-CZ" sz="2000" b="1" kern="1200" noProof="0" dirty="0">
              <a:solidFill>
                <a:srgbClr val="3F3F3F"/>
              </a:solidFill>
              <a:latin typeface="Tw Cen MT" panose="020B0602020104020603" pitchFamily="34" charset="-18"/>
              <a:ea typeface="+mn-ea"/>
              <a:cs typeface="+mn-cs"/>
            </a:rPr>
            <a:t>mezi</a:t>
          </a:r>
          <a:r>
            <a:rPr lang="sk-SK" sz="2000" b="1" kern="1200" noProof="0" dirty="0">
              <a:solidFill>
                <a:srgbClr val="3F3F3F"/>
              </a:solidFill>
              <a:latin typeface="Tw Cen MT" panose="020B0602020104020603" pitchFamily="34" charset="-18"/>
              <a:ea typeface="+mn-ea"/>
              <a:cs typeface="+mn-cs"/>
            </a:rPr>
            <a:t> členskými státy.</a:t>
          </a:r>
          <a:endParaRPr lang="cs-CZ" sz="2000" b="1" kern="1200" noProof="0" dirty="0">
            <a:solidFill>
              <a:srgbClr val="3F3F3F"/>
            </a:solidFill>
            <a:latin typeface="Tw Cen MT" panose="020B0602020104020603" pitchFamily="34" charset="-18"/>
            <a:ea typeface="+mn-ea"/>
            <a:cs typeface="+mn-cs"/>
          </a:endParaRPr>
        </a:p>
      </dgm:t>
    </dgm:pt>
    <dgm:pt modelId="{6120C1DA-31E7-4F92-B7A7-6A4D52EA848E}" type="sibTrans" cxnId="{3F46AE7F-76D5-4276-AF40-68FC7569B417}">
      <dgm:prSet/>
      <dgm:spPr/>
      <dgm:t>
        <a:bodyPr/>
        <a:lstStyle/>
        <a:p>
          <a:endParaRPr lang="cs-CZ" sz="2000" b="1">
            <a:solidFill>
              <a:schemeClr val="tx2"/>
            </a:solidFill>
            <a:latin typeface="Tw Cen MT" panose="020B0602020104020603" pitchFamily="34" charset="-18"/>
          </a:endParaRPr>
        </a:p>
      </dgm:t>
    </dgm:pt>
    <dgm:pt modelId="{E79093A8-C1DD-4823-AEAE-49CE1D207EFD}" type="parTrans" cxnId="{3F46AE7F-76D5-4276-AF40-68FC7569B417}">
      <dgm:prSet/>
      <dgm:spPr/>
      <dgm:t>
        <a:bodyPr/>
        <a:lstStyle/>
        <a:p>
          <a:endParaRPr lang="cs-CZ" sz="2000" b="1">
            <a:solidFill>
              <a:schemeClr val="tx2"/>
            </a:solidFill>
            <a:latin typeface="Tw Cen MT" panose="020B0602020104020603" pitchFamily="34" charset="-18"/>
          </a:endParaRPr>
        </a:p>
      </dgm:t>
    </dgm:pt>
    <dgm:pt modelId="{27E28482-573E-408F-9F91-1C6287603B6E}">
      <dgm:prSet custT="1"/>
      <dgm:spPr>
        <a:solidFill>
          <a:srgbClr val="B2B2B2"/>
        </a:solidFill>
      </dgm:spPr>
      <dgm:t>
        <a:bodyPr/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2000" b="1" kern="1200" noProof="0" dirty="0">
              <a:solidFill>
                <a:srgbClr val="3F3F3F"/>
              </a:solidFill>
              <a:latin typeface="Tw Cen MT" panose="020B0602020104020603" pitchFamily="34" charset="-18"/>
              <a:ea typeface="+mn-ea"/>
              <a:cs typeface="+mn-cs"/>
            </a:rPr>
            <a:t>Zajištění vysoké společné úrovně bezpečnosti sítí a IS v EU.</a:t>
          </a:r>
        </a:p>
      </dgm:t>
    </dgm:pt>
    <dgm:pt modelId="{2C5FD99B-643B-434F-A61F-15C1E2735DEB}" type="sibTrans" cxnId="{B0D8E84F-D8BE-4D59-B0DE-1F1D6F103ED0}">
      <dgm:prSet/>
      <dgm:spPr/>
      <dgm:t>
        <a:bodyPr/>
        <a:lstStyle/>
        <a:p>
          <a:endParaRPr lang="cs-CZ" sz="2000" b="1">
            <a:solidFill>
              <a:schemeClr val="tx2"/>
            </a:solidFill>
            <a:latin typeface="Tw Cen MT" panose="020B0602020104020603" pitchFamily="34" charset="-18"/>
          </a:endParaRPr>
        </a:p>
      </dgm:t>
    </dgm:pt>
    <dgm:pt modelId="{0D0FF1CA-0F93-4B93-A5FF-53C0A8EB6E97}" type="parTrans" cxnId="{B0D8E84F-D8BE-4D59-B0DE-1F1D6F103ED0}">
      <dgm:prSet/>
      <dgm:spPr/>
      <dgm:t>
        <a:bodyPr/>
        <a:lstStyle/>
        <a:p>
          <a:endParaRPr lang="cs-CZ" sz="2000" b="1">
            <a:solidFill>
              <a:schemeClr val="tx2"/>
            </a:solidFill>
            <a:latin typeface="Tw Cen MT" panose="020B0602020104020603" pitchFamily="34" charset="-18"/>
          </a:endParaRPr>
        </a:p>
      </dgm:t>
    </dgm:pt>
    <dgm:pt modelId="{E4387A31-91CB-4A39-9205-BB2DBF16DB72}">
      <dgm:prSet custT="1"/>
      <dgm:spPr>
        <a:solidFill>
          <a:srgbClr val="B2B2B2"/>
        </a:solidFill>
      </dgm:spPr>
      <dgm:t>
        <a:bodyPr/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cs-CZ" sz="2000" b="1" kern="1200" noProof="0" dirty="0">
              <a:solidFill>
                <a:schemeClr val="tx2"/>
              </a:solidFill>
              <a:latin typeface="Tw Cen MT" panose="020B0602020104020603" pitchFamily="34" charset="-18"/>
            </a:rPr>
            <a:t>Zvýšení odolnosti podniků působících v EU (zavedení opatření).</a:t>
          </a:r>
          <a:endParaRPr lang="cs-CZ" sz="2000" b="1" kern="1200" noProof="0" dirty="0">
            <a:solidFill>
              <a:srgbClr val="3F3F3F"/>
            </a:solidFill>
            <a:latin typeface="Tw Cen MT" panose="020B0602020104020603" pitchFamily="34" charset="-18"/>
            <a:ea typeface="+mn-ea"/>
            <a:cs typeface="+mn-cs"/>
          </a:endParaRPr>
        </a:p>
      </dgm:t>
    </dgm:pt>
    <dgm:pt modelId="{28D3F2B0-7090-4E91-9EC3-1DB686A61E80}" type="parTrans" cxnId="{7321A3C2-015F-4930-B5D0-1DCD9F83317D}">
      <dgm:prSet/>
      <dgm:spPr/>
      <dgm:t>
        <a:bodyPr/>
        <a:lstStyle/>
        <a:p>
          <a:endParaRPr lang="sk-SK" sz="2000"/>
        </a:p>
      </dgm:t>
    </dgm:pt>
    <dgm:pt modelId="{B78159DD-45E1-4C7D-A7A6-ED2EC810D0C5}" type="sibTrans" cxnId="{7321A3C2-015F-4930-B5D0-1DCD9F83317D}">
      <dgm:prSet/>
      <dgm:spPr/>
      <dgm:t>
        <a:bodyPr/>
        <a:lstStyle/>
        <a:p>
          <a:endParaRPr lang="sk-SK" sz="2000"/>
        </a:p>
      </dgm:t>
    </dgm:pt>
    <dgm:pt modelId="{2BC361F0-2DA1-4ECF-AD40-DAEC4E6EFC6C}">
      <dgm:prSet custT="1"/>
      <dgm:spPr>
        <a:solidFill>
          <a:srgbClr val="B2B2B2"/>
        </a:solidFill>
      </dgm:spPr>
      <dgm:t>
        <a:bodyPr/>
        <a:lstStyle/>
        <a:p>
          <a:r>
            <a:rPr lang="cs-CZ" sz="2000" b="1" noProof="0" dirty="0">
              <a:solidFill>
                <a:schemeClr val="tx2"/>
              </a:solidFill>
              <a:latin typeface="Tw Cen MT" panose="020B0602020104020603" pitchFamily="34" charset="-18"/>
            </a:rPr>
            <a:t>R</a:t>
          </a:r>
          <a:r>
            <a:rPr lang="pt-BR" sz="2000" b="1" noProof="0" dirty="0">
              <a:solidFill>
                <a:schemeClr val="tx2"/>
              </a:solidFill>
              <a:latin typeface="Tw Cen MT" panose="020B0602020104020603" pitchFamily="34" charset="-18"/>
            </a:rPr>
            <a:t>eagování na globální situace </a:t>
          </a:r>
          <a:r>
            <a:rPr lang="cs-CZ" sz="2000" b="1" noProof="0" dirty="0">
              <a:solidFill>
                <a:schemeClr val="tx2"/>
              </a:solidFill>
              <a:latin typeface="Tw Cen MT" panose="020B0602020104020603" pitchFamily="34" charset="-18"/>
            </a:rPr>
            <a:t>a ochrana občanů a ekonomiky. </a:t>
          </a:r>
        </a:p>
      </dgm:t>
    </dgm:pt>
    <dgm:pt modelId="{F6AD55AB-40DF-4A33-88C9-D924E591C6D0}" type="parTrans" cxnId="{3F0C784F-8DEB-47F3-A04B-B0D8BA9D52F1}">
      <dgm:prSet/>
      <dgm:spPr/>
      <dgm:t>
        <a:bodyPr/>
        <a:lstStyle/>
        <a:p>
          <a:endParaRPr lang="sk-SK" sz="2000"/>
        </a:p>
      </dgm:t>
    </dgm:pt>
    <dgm:pt modelId="{6C3F1669-4517-439F-889B-CEE44E5279BF}" type="sibTrans" cxnId="{3F0C784F-8DEB-47F3-A04B-B0D8BA9D52F1}">
      <dgm:prSet/>
      <dgm:spPr/>
      <dgm:t>
        <a:bodyPr/>
        <a:lstStyle/>
        <a:p>
          <a:endParaRPr lang="sk-SK" sz="2000"/>
        </a:p>
      </dgm:t>
    </dgm:pt>
    <dgm:pt modelId="{8C042FD1-26B7-41EA-B9C8-1061A2A29874}" type="pres">
      <dgm:prSet presAssocID="{3CB222EE-C9FE-44A0-9D82-7FD013C91414}" presName="linearFlow" presStyleCnt="0">
        <dgm:presLayoutVars>
          <dgm:dir/>
          <dgm:resizeHandles val="exact"/>
        </dgm:presLayoutVars>
      </dgm:prSet>
      <dgm:spPr/>
    </dgm:pt>
    <dgm:pt modelId="{D7A6FE5F-1598-4CF5-9CC5-BCC69F7C4FD8}" type="pres">
      <dgm:prSet presAssocID="{27E28482-573E-408F-9F91-1C6287603B6E}" presName="composite" presStyleCnt="0"/>
      <dgm:spPr/>
    </dgm:pt>
    <dgm:pt modelId="{C19F4E01-581C-4014-8377-9F295FF09358}" type="pres">
      <dgm:prSet presAssocID="{27E28482-573E-408F-9F91-1C6287603B6E}" presName="imgShp" presStyleLbl="fgImgPlace1" presStyleIdx="0" presStyleCnt="5"/>
      <dgm:spPr>
        <a:solidFill>
          <a:srgbClr val="0070C0"/>
        </a:solidFill>
      </dgm:spPr>
    </dgm:pt>
    <dgm:pt modelId="{05EEA3B1-BF41-4BA4-B736-E5579F9F124C}" type="pres">
      <dgm:prSet presAssocID="{27E28482-573E-408F-9F91-1C6287603B6E}" presName="txShp" presStyleLbl="node1" presStyleIdx="0" presStyleCnt="5" custScaleY="137784">
        <dgm:presLayoutVars>
          <dgm:bulletEnabled val="1"/>
        </dgm:presLayoutVars>
      </dgm:prSet>
      <dgm:spPr/>
    </dgm:pt>
    <dgm:pt modelId="{1F91DBD3-D9FD-46F3-A60C-72F236F7916C}" type="pres">
      <dgm:prSet presAssocID="{2C5FD99B-643B-434F-A61F-15C1E2735DEB}" presName="spacing" presStyleCnt="0"/>
      <dgm:spPr/>
    </dgm:pt>
    <dgm:pt modelId="{1AB50ECB-7237-43AA-9B0B-C4B41720B0D9}" type="pres">
      <dgm:prSet presAssocID="{E4387A31-91CB-4A39-9205-BB2DBF16DB72}" presName="composite" presStyleCnt="0"/>
      <dgm:spPr/>
    </dgm:pt>
    <dgm:pt modelId="{BE72C1BE-2B00-4BA3-A9A2-25D1C8033082}" type="pres">
      <dgm:prSet presAssocID="{E4387A31-91CB-4A39-9205-BB2DBF16DB72}" presName="imgShp" presStyleLbl="fgImgPlace1" presStyleIdx="1" presStyleCnt="5"/>
      <dgm:spPr>
        <a:solidFill>
          <a:srgbClr val="00B050"/>
        </a:solidFill>
      </dgm:spPr>
    </dgm:pt>
    <dgm:pt modelId="{396C4469-DB6D-442E-91ED-D603C9560984}" type="pres">
      <dgm:prSet presAssocID="{E4387A31-91CB-4A39-9205-BB2DBF16DB72}" presName="txShp" presStyleLbl="node1" presStyleIdx="1" presStyleCnt="5" custScaleY="128340">
        <dgm:presLayoutVars>
          <dgm:bulletEnabled val="1"/>
        </dgm:presLayoutVars>
      </dgm:prSet>
      <dgm:spPr/>
    </dgm:pt>
    <dgm:pt modelId="{3D8B136E-5CFD-40C4-96E3-46C73B65E2D3}" type="pres">
      <dgm:prSet presAssocID="{B78159DD-45E1-4C7D-A7A6-ED2EC810D0C5}" presName="spacing" presStyleCnt="0"/>
      <dgm:spPr/>
    </dgm:pt>
    <dgm:pt modelId="{1ADEDD34-D4AA-456C-A321-0C94335447B1}" type="pres">
      <dgm:prSet presAssocID="{B5F46752-3A40-4A75-BEC5-C760EFAB5581}" presName="composite" presStyleCnt="0"/>
      <dgm:spPr/>
    </dgm:pt>
    <dgm:pt modelId="{5D13F47B-30B0-4B41-B021-234516C395FA}" type="pres">
      <dgm:prSet presAssocID="{B5F46752-3A40-4A75-BEC5-C760EFAB5581}" presName="imgShp" presStyleLbl="fgImgPlace1" presStyleIdx="2" presStyleCnt="5"/>
      <dgm:spPr>
        <a:solidFill>
          <a:srgbClr val="92D050"/>
        </a:solidFill>
      </dgm:spPr>
    </dgm:pt>
    <dgm:pt modelId="{6CF3C62A-9C77-4362-8C39-D14492C035B7}" type="pres">
      <dgm:prSet presAssocID="{B5F46752-3A40-4A75-BEC5-C760EFAB5581}" presName="txShp" presStyleLbl="node1" presStyleIdx="2" presStyleCnt="5" custScaleY="163891">
        <dgm:presLayoutVars>
          <dgm:bulletEnabled val="1"/>
        </dgm:presLayoutVars>
      </dgm:prSet>
      <dgm:spPr/>
    </dgm:pt>
    <dgm:pt modelId="{AE4BC3AF-8226-427D-BB8A-14C6CAA5E167}" type="pres">
      <dgm:prSet presAssocID="{6120C1DA-31E7-4F92-B7A7-6A4D52EA848E}" presName="spacing" presStyleCnt="0"/>
      <dgm:spPr/>
    </dgm:pt>
    <dgm:pt modelId="{DBADB25A-8C93-4880-BAF0-390ED1B0693A}" type="pres">
      <dgm:prSet presAssocID="{E3B80519-9651-47B8-A5E8-41ABBD0CDBCE}" presName="composite" presStyleCnt="0"/>
      <dgm:spPr/>
    </dgm:pt>
    <dgm:pt modelId="{3AC35BCF-6443-4BB3-B467-4BE4B6A959FA}" type="pres">
      <dgm:prSet presAssocID="{E3B80519-9651-47B8-A5E8-41ABBD0CDBCE}" presName="imgShp" presStyleLbl="fgImgPlace1" presStyleIdx="3" presStyleCnt="5"/>
      <dgm:spPr>
        <a:solidFill>
          <a:srgbClr val="FFFF00"/>
        </a:solidFill>
      </dgm:spPr>
    </dgm:pt>
    <dgm:pt modelId="{1991A103-DC97-4B8D-B9D0-C24AB678E88C}" type="pres">
      <dgm:prSet presAssocID="{E3B80519-9651-47B8-A5E8-41ABBD0CDBCE}" presName="txShp" presStyleLbl="node1" presStyleIdx="3" presStyleCnt="5">
        <dgm:presLayoutVars>
          <dgm:bulletEnabled val="1"/>
        </dgm:presLayoutVars>
      </dgm:prSet>
      <dgm:spPr/>
    </dgm:pt>
    <dgm:pt modelId="{2278765D-AD14-40F4-A0FB-1EDD907D489C}" type="pres">
      <dgm:prSet presAssocID="{2239A632-BC77-405C-9732-A0931C35B8FD}" presName="spacing" presStyleCnt="0"/>
      <dgm:spPr/>
    </dgm:pt>
    <dgm:pt modelId="{F47B9C50-1044-49CA-85FE-E5009105CC0D}" type="pres">
      <dgm:prSet presAssocID="{2BC361F0-2DA1-4ECF-AD40-DAEC4E6EFC6C}" presName="composite" presStyleCnt="0"/>
      <dgm:spPr/>
    </dgm:pt>
    <dgm:pt modelId="{AD88CBF5-A4B6-4323-B358-9C79806BB8ED}" type="pres">
      <dgm:prSet presAssocID="{2BC361F0-2DA1-4ECF-AD40-DAEC4E6EFC6C}" presName="imgShp" presStyleLbl="fgImgPlace1" presStyleIdx="4" presStyleCnt="5"/>
      <dgm:spPr>
        <a:solidFill>
          <a:srgbClr val="FFC000"/>
        </a:solidFill>
      </dgm:spPr>
    </dgm:pt>
    <dgm:pt modelId="{3A58D11B-E6F9-4947-A600-8FC61ED76B2F}" type="pres">
      <dgm:prSet presAssocID="{2BC361F0-2DA1-4ECF-AD40-DAEC4E6EFC6C}" presName="txShp" presStyleLbl="node1" presStyleIdx="4" presStyleCnt="5" custLinFactNeighborX="476">
        <dgm:presLayoutVars>
          <dgm:bulletEnabled val="1"/>
        </dgm:presLayoutVars>
      </dgm:prSet>
      <dgm:spPr/>
    </dgm:pt>
  </dgm:ptLst>
  <dgm:cxnLst>
    <dgm:cxn modelId="{590F960E-E1CF-47E2-9962-4843BE8B1C60}" type="presOf" srcId="{3CB222EE-C9FE-44A0-9D82-7FD013C91414}" destId="{8C042FD1-26B7-41EA-B9C8-1061A2A29874}" srcOrd="0" destOrd="0" presId="urn:microsoft.com/office/officeart/2005/8/layout/vList3"/>
    <dgm:cxn modelId="{3FA4E55B-A150-4F54-9953-3411B821A9E4}" type="presOf" srcId="{27E28482-573E-408F-9F91-1C6287603B6E}" destId="{05EEA3B1-BF41-4BA4-B736-E5579F9F124C}" srcOrd="0" destOrd="0" presId="urn:microsoft.com/office/officeart/2005/8/layout/vList3"/>
    <dgm:cxn modelId="{3A197944-2E8B-41C4-BA3E-1574D28D1C57}" srcId="{3CB222EE-C9FE-44A0-9D82-7FD013C91414}" destId="{E3B80519-9651-47B8-A5E8-41ABBD0CDBCE}" srcOrd="3" destOrd="0" parTransId="{51837BA8-AE59-44AE-9EC4-4652B2AE9865}" sibTransId="{2239A632-BC77-405C-9732-A0931C35B8FD}"/>
    <dgm:cxn modelId="{10D0214A-57D7-4E64-A8C6-4D672D5FFF00}" type="presOf" srcId="{E4387A31-91CB-4A39-9205-BB2DBF16DB72}" destId="{396C4469-DB6D-442E-91ED-D603C9560984}" srcOrd="0" destOrd="0" presId="urn:microsoft.com/office/officeart/2005/8/layout/vList3"/>
    <dgm:cxn modelId="{3F0C784F-8DEB-47F3-A04B-B0D8BA9D52F1}" srcId="{3CB222EE-C9FE-44A0-9D82-7FD013C91414}" destId="{2BC361F0-2DA1-4ECF-AD40-DAEC4E6EFC6C}" srcOrd="4" destOrd="0" parTransId="{F6AD55AB-40DF-4A33-88C9-D924E591C6D0}" sibTransId="{6C3F1669-4517-439F-889B-CEE44E5279BF}"/>
    <dgm:cxn modelId="{B0D8E84F-D8BE-4D59-B0DE-1F1D6F103ED0}" srcId="{3CB222EE-C9FE-44A0-9D82-7FD013C91414}" destId="{27E28482-573E-408F-9F91-1C6287603B6E}" srcOrd="0" destOrd="0" parTransId="{0D0FF1CA-0F93-4B93-A5FF-53C0A8EB6E97}" sibTransId="{2C5FD99B-643B-434F-A61F-15C1E2735DEB}"/>
    <dgm:cxn modelId="{3F46AE7F-76D5-4276-AF40-68FC7569B417}" srcId="{3CB222EE-C9FE-44A0-9D82-7FD013C91414}" destId="{B5F46752-3A40-4A75-BEC5-C760EFAB5581}" srcOrd="2" destOrd="0" parTransId="{E79093A8-C1DD-4823-AEAE-49CE1D207EFD}" sibTransId="{6120C1DA-31E7-4F92-B7A7-6A4D52EA848E}"/>
    <dgm:cxn modelId="{8D637386-8618-4A17-BC3D-D7FF6B7B9D9C}" type="presOf" srcId="{B5F46752-3A40-4A75-BEC5-C760EFAB5581}" destId="{6CF3C62A-9C77-4362-8C39-D14492C035B7}" srcOrd="0" destOrd="0" presId="urn:microsoft.com/office/officeart/2005/8/layout/vList3"/>
    <dgm:cxn modelId="{103CF1B2-3868-4AF0-9536-74ABD069E5C7}" type="presOf" srcId="{E3B80519-9651-47B8-A5E8-41ABBD0CDBCE}" destId="{1991A103-DC97-4B8D-B9D0-C24AB678E88C}" srcOrd="0" destOrd="0" presId="urn:microsoft.com/office/officeart/2005/8/layout/vList3"/>
    <dgm:cxn modelId="{7321A3C2-015F-4930-B5D0-1DCD9F83317D}" srcId="{3CB222EE-C9FE-44A0-9D82-7FD013C91414}" destId="{E4387A31-91CB-4A39-9205-BB2DBF16DB72}" srcOrd="1" destOrd="0" parTransId="{28D3F2B0-7090-4E91-9EC3-1DB686A61E80}" sibTransId="{B78159DD-45E1-4C7D-A7A6-ED2EC810D0C5}"/>
    <dgm:cxn modelId="{4415F9ED-3757-4A5C-9CC6-26C83B633261}" type="presOf" srcId="{2BC361F0-2DA1-4ECF-AD40-DAEC4E6EFC6C}" destId="{3A58D11B-E6F9-4947-A600-8FC61ED76B2F}" srcOrd="0" destOrd="0" presId="urn:microsoft.com/office/officeart/2005/8/layout/vList3"/>
    <dgm:cxn modelId="{225FBD28-7408-46DE-AD67-852F12288176}" type="presParOf" srcId="{8C042FD1-26B7-41EA-B9C8-1061A2A29874}" destId="{D7A6FE5F-1598-4CF5-9CC5-BCC69F7C4FD8}" srcOrd="0" destOrd="0" presId="urn:microsoft.com/office/officeart/2005/8/layout/vList3"/>
    <dgm:cxn modelId="{EAF1E8DB-BBE8-42B9-88DC-5F81CA1DF083}" type="presParOf" srcId="{D7A6FE5F-1598-4CF5-9CC5-BCC69F7C4FD8}" destId="{C19F4E01-581C-4014-8377-9F295FF09358}" srcOrd="0" destOrd="0" presId="urn:microsoft.com/office/officeart/2005/8/layout/vList3"/>
    <dgm:cxn modelId="{19E05217-14B6-4892-BF89-F1E7F724E85D}" type="presParOf" srcId="{D7A6FE5F-1598-4CF5-9CC5-BCC69F7C4FD8}" destId="{05EEA3B1-BF41-4BA4-B736-E5579F9F124C}" srcOrd="1" destOrd="0" presId="urn:microsoft.com/office/officeart/2005/8/layout/vList3"/>
    <dgm:cxn modelId="{367948B0-6594-4628-B662-787423E1FC19}" type="presParOf" srcId="{8C042FD1-26B7-41EA-B9C8-1061A2A29874}" destId="{1F91DBD3-D9FD-46F3-A60C-72F236F7916C}" srcOrd="1" destOrd="0" presId="urn:microsoft.com/office/officeart/2005/8/layout/vList3"/>
    <dgm:cxn modelId="{5730CE09-13F9-4A08-A1AB-EC0BAFB21999}" type="presParOf" srcId="{8C042FD1-26B7-41EA-B9C8-1061A2A29874}" destId="{1AB50ECB-7237-43AA-9B0B-C4B41720B0D9}" srcOrd="2" destOrd="0" presId="urn:microsoft.com/office/officeart/2005/8/layout/vList3"/>
    <dgm:cxn modelId="{45522A94-083E-4010-9D21-E530C01061BA}" type="presParOf" srcId="{1AB50ECB-7237-43AA-9B0B-C4B41720B0D9}" destId="{BE72C1BE-2B00-4BA3-A9A2-25D1C8033082}" srcOrd="0" destOrd="0" presId="urn:microsoft.com/office/officeart/2005/8/layout/vList3"/>
    <dgm:cxn modelId="{AD0C92F3-F665-4716-A373-C53F4303F181}" type="presParOf" srcId="{1AB50ECB-7237-43AA-9B0B-C4B41720B0D9}" destId="{396C4469-DB6D-442E-91ED-D603C9560984}" srcOrd="1" destOrd="0" presId="urn:microsoft.com/office/officeart/2005/8/layout/vList3"/>
    <dgm:cxn modelId="{5FA5A557-4CBE-4F9D-9F1F-36644D03B628}" type="presParOf" srcId="{8C042FD1-26B7-41EA-B9C8-1061A2A29874}" destId="{3D8B136E-5CFD-40C4-96E3-46C73B65E2D3}" srcOrd="3" destOrd="0" presId="urn:microsoft.com/office/officeart/2005/8/layout/vList3"/>
    <dgm:cxn modelId="{DA9EF877-F2E3-4846-90C4-D48AADBE9BA3}" type="presParOf" srcId="{8C042FD1-26B7-41EA-B9C8-1061A2A29874}" destId="{1ADEDD34-D4AA-456C-A321-0C94335447B1}" srcOrd="4" destOrd="0" presId="urn:microsoft.com/office/officeart/2005/8/layout/vList3"/>
    <dgm:cxn modelId="{D961204F-8389-4300-AAF3-F8DAEFCB670D}" type="presParOf" srcId="{1ADEDD34-D4AA-456C-A321-0C94335447B1}" destId="{5D13F47B-30B0-4B41-B021-234516C395FA}" srcOrd="0" destOrd="0" presId="urn:microsoft.com/office/officeart/2005/8/layout/vList3"/>
    <dgm:cxn modelId="{45C020E7-BD07-4F33-AFA8-8140E26D912D}" type="presParOf" srcId="{1ADEDD34-D4AA-456C-A321-0C94335447B1}" destId="{6CF3C62A-9C77-4362-8C39-D14492C035B7}" srcOrd="1" destOrd="0" presId="urn:microsoft.com/office/officeart/2005/8/layout/vList3"/>
    <dgm:cxn modelId="{08F60342-0EB5-468D-BAF4-7E64753E29DE}" type="presParOf" srcId="{8C042FD1-26B7-41EA-B9C8-1061A2A29874}" destId="{AE4BC3AF-8226-427D-BB8A-14C6CAA5E167}" srcOrd="5" destOrd="0" presId="urn:microsoft.com/office/officeart/2005/8/layout/vList3"/>
    <dgm:cxn modelId="{FE652A3C-8430-4D35-B8AA-3FE5FCEB0524}" type="presParOf" srcId="{8C042FD1-26B7-41EA-B9C8-1061A2A29874}" destId="{DBADB25A-8C93-4880-BAF0-390ED1B0693A}" srcOrd="6" destOrd="0" presId="urn:microsoft.com/office/officeart/2005/8/layout/vList3"/>
    <dgm:cxn modelId="{CDCAC8A6-1640-4848-A0E1-890368CBDCFD}" type="presParOf" srcId="{DBADB25A-8C93-4880-BAF0-390ED1B0693A}" destId="{3AC35BCF-6443-4BB3-B467-4BE4B6A959FA}" srcOrd="0" destOrd="0" presId="urn:microsoft.com/office/officeart/2005/8/layout/vList3"/>
    <dgm:cxn modelId="{A5D9EF12-FBF2-45C4-A877-C7FDD8BAA5CE}" type="presParOf" srcId="{DBADB25A-8C93-4880-BAF0-390ED1B0693A}" destId="{1991A103-DC97-4B8D-B9D0-C24AB678E88C}" srcOrd="1" destOrd="0" presId="urn:microsoft.com/office/officeart/2005/8/layout/vList3"/>
    <dgm:cxn modelId="{1E06279F-559A-4796-80BE-A233B9AE6808}" type="presParOf" srcId="{8C042FD1-26B7-41EA-B9C8-1061A2A29874}" destId="{2278765D-AD14-40F4-A0FB-1EDD907D489C}" srcOrd="7" destOrd="0" presId="urn:microsoft.com/office/officeart/2005/8/layout/vList3"/>
    <dgm:cxn modelId="{6D780F64-8FEF-49AA-88F6-8B028C4D57AE}" type="presParOf" srcId="{8C042FD1-26B7-41EA-B9C8-1061A2A29874}" destId="{F47B9C50-1044-49CA-85FE-E5009105CC0D}" srcOrd="8" destOrd="0" presId="urn:microsoft.com/office/officeart/2005/8/layout/vList3"/>
    <dgm:cxn modelId="{A486ACE8-F0C4-4DD9-8CB9-3CB51DBAE5A7}" type="presParOf" srcId="{F47B9C50-1044-49CA-85FE-E5009105CC0D}" destId="{AD88CBF5-A4B6-4323-B358-9C79806BB8ED}" srcOrd="0" destOrd="0" presId="urn:microsoft.com/office/officeart/2005/8/layout/vList3"/>
    <dgm:cxn modelId="{F196B0EE-E9D6-4D87-8579-688C2E86F245}" type="presParOf" srcId="{F47B9C50-1044-49CA-85FE-E5009105CC0D}" destId="{3A58D11B-E6F9-4947-A600-8FC61ED76B2F}" srcOrd="1" destOrd="0" presId="urn:microsoft.com/office/officeart/2005/8/layout/vList3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BEC47828-E30F-4C51-8634-C054B30CEA78}" type="doc">
      <dgm:prSet loTypeId="urn:microsoft.com/office/officeart/2005/8/layout/lProcess2" loCatId="list" qsTypeId="urn:microsoft.com/office/officeart/2005/8/quickstyle/3d4" qsCatId="3D" csTypeId="urn:microsoft.com/office/officeart/2005/8/colors/accent0_3" csCatId="mainScheme" phldr="1"/>
      <dgm:spPr/>
      <dgm:t>
        <a:bodyPr/>
        <a:lstStyle/>
        <a:p>
          <a:endParaRPr lang="sk-SK"/>
        </a:p>
      </dgm:t>
    </dgm:pt>
    <dgm:pt modelId="{7A52CA84-B153-4037-8417-42ECE0EC60A1}">
      <dgm:prSet/>
      <dgm:spPr>
        <a:solidFill>
          <a:schemeClr val="tx2">
            <a:lumMod val="50000"/>
          </a:schemeClr>
        </a:solidFill>
      </dgm:spPr>
      <dgm:t>
        <a:bodyPr/>
        <a:lstStyle/>
        <a:p>
          <a:pPr rtl="0"/>
          <a:r>
            <a:rPr lang="cs-CZ" b="1" i="0" noProof="0" dirty="0">
              <a:solidFill>
                <a:srgbClr val="FFFFFF"/>
              </a:solidFill>
              <a:latin typeface="+mn-lt"/>
              <a:ea typeface="Ebrima" panose="02000000000000000000" pitchFamily="2" charset="0"/>
              <a:cs typeface="Ebrima" panose="02000000000000000000" pitchFamily="2" charset="0"/>
            </a:rPr>
            <a:t>Organizační bezpečnost (role)</a:t>
          </a:r>
        </a:p>
      </dgm:t>
    </dgm:pt>
    <dgm:pt modelId="{56ACF266-F619-4545-8197-6A65C8E17E76}" type="parTrans" cxnId="{E620EE52-8731-40A0-AB5E-DC12CE29C854}">
      <dgm:prSet/>
      <dgm:spPr/>
      <dgm:t>
        <a:bodyPr/>
        <a:lstStyle/>
        <a:p>
          <a:endParaRPr lang="sk-SK" i="0"/>
        </a:p>
      </dgm:t>
    </dgm:pt>
    <dgm:pt modelId="{00E94EDD-6D78-42A8-91F1-014B250167FC}" type="sibTrans" cxnId="{E620EE52-8731-40A0-AB5E-DC12CE29C854}">
      <dgm:prSet/>
      <dgm:spPr/>
      <dgm:t>
        <a:bodyPr/>
        <a:lstStyle/>
        <a:p>
          <a:endParaRPr lang="sk-SK" i="0"/>
        </a:p>
      </dgm:t>
    </dgm:pt>
    <dgm:pt modelId="{BEBEEFDF-4D2A-CF48-B9EF-E3BF4EFC1F42}">
      <dgm:prSet/>
      <dgm:spPr>
        <a:solidFill>
          <a:schemeClr val="tx2">
            <a:lumMod val="50000"/>
          </a:schemeClr>
        </a:solidFill>
      </dgm:spPr>
      <dgm:t>
        <a:bodyPr/>
        <a:lstStyle/>
        <a:p>
          <a:pPr rtl="0"/>
          <a:r>
            <a:rPr lang="cs-CZ" b="1" i="0" noProof="0" dirty="0">
              <a:solidFill>
                <a:srgbClr val="FFFFFF"/>
              </a:solidFill>
              <a:latin typeface="+mn-lt"/>
              <a:ea typeface="Ebrima" panose="02000000000000000000" pitchFamily="2" charset="0"/>
              <a:cs typeface="Ebrima" panose="02000000000000000000" pitchFamily="2" charset="0"/>
            </a:rPr>
            <a:t>Správa a ověření identit</a:t>
          </a:r>
          <a:endParaRPr lang="en-US" b="1" i="0" noProof="0" dirty="0">
            <a:solidFill>
              <a:srgbClr val="FFFFFF"/>
            </a:solidFill>
            <a:latin typeface="+mn-lt"/>
            <a:ea typeface="Ebrima" panose="02000000000000000000" pitchFamily="2" charset="0"/>
            <a:cs typeface="Ebrima" panose="02000000000000000000" pitchFamily="2" charset="0"/>
          </a:endParaRPr>
        </a:p>
      </dgm:t>
    </dgm:pt>
    <dgm:pt modelId="{E0B83BA4-8E5A-FD48-8A00-02BEE2C02CB4}" type="parTrans" cxnId="{8BA3D359-5016-FC4F-A7E6-FB86419F8A1A}">
      <dgm:prSet/>
      <dgm:spPr/>
      <dgm:t>
        <a:bodyPr/>
        <a:lstStyle/>
        <a:p>
          <a:endParaRPr lang="en-US" i="0"/>
        </a:p>
      </dgm:t>
    </dgm:pt>
    <dgm:pt modelId="{3EFC0E29-85FC-2C4C-ABD7-C14C192A0E12}" type="sibTrans" cxnId="{8BA3D359-5016-FC4F-A7E6-FB86419F8A1A}">
      <dgm:prSet/>
      <dgm:spPr/>
      <dgm:t>
        <a:bodyPr/>
        <a:lstStyle/>
        <a:p>
          <a:endParaRPr lang="en-US" i="0"/>
        </a:p>
      </dgm:t>
    </dgm:pt>
    <dgm:pt modelId="{66875099-C05E-1C48-A5D1-E831B5CBB4AD}">
      <dgm:prSet/>
      <dgm:spPr>
        <a:solidFill>
          <a:schemeClr val="tx2">
            <a:lumMod val="50000"/>
          </a:schemeClr>
        </a:solidFill>
      </dgm:spPr>
      <dgm:t>
        <a:bodyPr/>
        <a:lstStyle/>
        <a:p>
          <a:pPr>
            <a:buFont typeface="Arial" panose="020B0604020202020204" pitchFamily="34" charset="0"/>
            <a:buChar char="•"/>
          </a:pPr>
          <a:r>
            <a:rPr lang="cs-CZ" b="1" i="0" dirty="0">
              <a:solidFill>
                <a:srgbClr val="FFFFFF"/>
              </a:solidFill>
              <a:latin typeface="+mn-lt"/>
            </a:rPr>
            <a:t>Bezpečnost komunikačních sítí.</a:t>
          </a:r>
          <a:endParaRPr lang="cs-CZ" b="1" i="0" noProof="0" dirty="0">
            <a:solidFill>
              <a:srgbClr val="FFFFFF"/>
            </a:solidFill>
            <a:latin typeface="+mn-lt"/>
            <a:ea typeface="Ebrima" panose="02000000000000000000" pitchFamily="2" charset="0"/>
            <a:cs typeface="Ebrima" panose="02000000000000000000" pitchFamily="2" charset="0"/>
          </a:endParaRPr>
        </a:p>
      </dgm:t>
    </dgm:pt>
    <dgm:pt modelId="{ADFAB633-9351-C84D-97CC-CCF0C35E2019}" type="parTrans" cxnId="{90BA91C6-E367-CD4B-9964-F061F5AE37AC}">
      <dgm:prSet/>
      <dgm:spPr/>
      <dgm:t>
        <a:bodyPr/>
        <a:lstStyle/>
        <a:p>
          <a:endParaRPr lang="en-US" i="0"/>
        </a:p>
      </dgm:t>
    </dgm:pt>
    <dgm:pt modelId="{5ED75014-7793-5C44-B375-E5C6A1806C9F}" type="sibTrans" cxnId="{90BA91C6-E367-CD4B-9964-F061F5AE37AC}">
      <dgm:prSet/>
      <dgm:spPr/>
      <dgm:t>
        <a:bodyPr/>
        <a:lstStyle/>
        <a:p>
          <a:endParaRPr lang="en-US" i="0"/>
        </a:p>
      </dgm:t>
    </dgm:pt>
    <dgm:pt modelId="{AE2E23BD-E513-4338-98BB-0F85005311CE}">
      <dgm:prSet/>
      <dgm:spPr>
        <a:solidFill>
          <a:srgbClr val="FFFFFF"/>
        </a:solidFill>
        <a:ln>
          <a:solidFill>
            <a:schemeClr val="bg1"/>
          </a:solidFill>
        </a:ln>
      </dgm:spPr>
      <dgm:t>
        <a:bodyPr/>
        <a:lstStyle/>
        <a:p>
          <a:pPr rtl="0"/>
          <a:r>
            <a:rPr lang="cs-CZ" b="1" i="0" noProof="0" dirty="0">
              <a:solidFill>
                <a:srgbClr val="FF0000"/>
              </a:solidFill>
              <a:latin typeface="+mn-lt"/>
              <a:ea typeface="Ebrima" panose="02000000000000000000" pitchFamily="2" charset="0"/>
              <a:cs typeface="Ebrima" panose="02000000000000000000" pitchFamily="2" charset="0"/>
            </a:rPr>
            <a:t>Nástroje</a:t>
          </a:r>
        </a:p>
      </dgm:t>
    </dgm:pt>
    <dgm:pt modelId="{EC4D4DF6-F32A-45C8-93A4-F9F4AC8E03F9}" type="sibTrans" cxnId="{71A56085-E9B3-42CC-BD18-BB7A7FA2BAB8}">
      <dgm:prSet/>
      <dgm:spPr/>
      <dgm:t>
        <a:bodyPr/>
        <a:lstStyle/>
        <a:p>
          <a:endParaRPr lang="sk-SK" i="0"/>
        </a:p>
      </dgm:t>
    </dgm:pt>
    <dgm:pt modelId="{6EE18FAA-B147-430F-9CD5-6A00DE348E62}" type="parTrans" cxnId="{71A56085-E9B3-42CC-BD18-BB7A7FA2BAB8}">
      <dgm:prSet/>
      <dgm:spPr/>
      <dgm:t>
        <a:bodyPr/>
        <a:lstStyle/>
        <a:p>
          <a:endParaRPr lang="sk-SK" i="0"/>
        </a:p>
      </dgm:t>
    </dgm:pt>
    <dgm:pt modelId="{22C606A9-00C3-469A-A174-CAA07BB78D1C}">
      <dgm:prSet/>
      <dgm:spPr>
        <a:solidFill>
          <a:schemeClr val="tx2">
            <a:lumMod val="50000"/>
          </a:schemeClr>
        </a:solidFill>
      </dgm:spPr>
      <dgm:t>
        <a:bodyPr/>
        <a:lstStyle/>
        <a:p>
          <a:pPr rtl="0"/>
          <a:r>
            <a:rPr lang="cs-CZ" b="1" i="0" noProof="0" dirty="0">
              <a:solidFill>
                <a:srgbClr val="FFFFFF"/>
              </a:solidFill>
              <a:latin typeface="+mn-lt"/>
              <a:ea typeface="Ebrima" panose="02000000000000000000" pitchFamily="2" charset="0"/>
              <a:cs typeface="Ebrima" panose="02000000000000000000" pitchFamily="2" charset="0"/>
            </a:rPr>
            <a:t>Záznam událostí ICT, sběr a vyhodnocení</a:t>
          </a:r>
        </a:p>
      </dgm:t>
    </dgm:pt>
    <dgm:pt modelId="{074F6FB1-66F6-4451-9D85-F80AFB04B0A4}" type="parTrans" cxnId="{2E40556D-E9C8-4130-812E-8B3E7232E6DE}">
      <dgm:prSet/>
      <dgm:spPr/>
      <dgm:t>
        <a:bodyPr/>
        <a:lstStyle/>
        <a:p>
          <a:endParaRPr lang="cs-CZ" i="0"/>
        </a:p>
      </dgm:t>
    </dgm:pt>
    <dgm:pt modelId="{5B1F8476-8A97-4B10-8716-33AAFB8DAF86}" type="sibTrans" cxnId="{2E40556D-E9C8-4130-812E-8B3E7232E6DE}">
      <dgm:prSet/>
      <dgm:spPr/>
      <dgm:t>
        <a:bodyPr/>
        <a:lstStyle/>
        <a:p>
          <a:endParaRPr lang="cs-CZ" i="0"/>
        </a:p>
      </dgm:t>
    </dgm:pt>
    <dgm:pt modelId="{4ED6D318-629A-3F44-8227-AF23181064A1}">
      <dgm:prSet/>
      <dgm:spPr>
        <a:solidFill>
          <a:schemeClr val="tx2">
            <a:lumMod val="50000"/>
          </a:schemeClr>
        </a:solidFill>
      </dgm:spPr>
      <dgm:t>
        <a:bodyPr/>
        <a:lstStyle/>
        <a:p>
          <a:r>
            <a:rPr lang="cs-CZ" b="1" i="0" dirty="0">
              <a:solidFill>
                <a:srgbClr val="FFFFFF"/>
              </a:solidFill>
              <a:latin typeface="+mn-lt"/>
              <a:ea typeface="Ebrima" panose="02000000000000000000" pitchFamily="2" charset="0"/>
              <a:cs typeface="Ebrima" panose="02000000000000000000" pitchFamily="2" charset="0"/>
            </a:rPr>
            <a:t>Fyzická bezpečnost</a:t>
          </a:r>
        </a:p>
      </dgm:t>
    </dgm:pt>
    <dgm:pt modelId="{3CD8E429-AB2F-5B43-A878-3A828B755291}" type="parTrans" cxnId="{1D1AB818-3550-A74F-BBF2-972E8C3D2B52}">
      <dgm:prSet/>
      <dgm:spPr/>
      <dgm:t>
        <a:bodyPr/>
        <a:lstStyle/>
        <a:p>
          <a:endParaRPr lang="cs-CZ" i="0"/>
        </a:p>
      </dgm:t>
    </dgm:pt>
    <dgm:pt modelId="{5A2E7203-8F04-7744-B487-5E9D60EF5785}" type="sibTrans" cxnId="{1D1AB818-3550-A74F-BBF2-972E8C3D2B52}">
      <dgm:prSet/>
      <dgm:spPr/>
      <dgm:t>
        <a:bodyPr/>
        <a:lstStyle/>
        <a:p>
          <a:endParaRPr lang="cs-CZ" i="0"/>
        </a:p>
      </dgm:t>
    </dgm:pt>
    <dgm:pt modelId="{A53EC3E8-7E14-4EB0-AA21-170C8A5128F5}">
      <dgm:prSet/>
      <dgm:spPr>
        <a:solidFill>
          <a:schemeClr val="tx2">
            <a:lumMod val="50000"/>
          </a:schemeClr>
        </a:solidFill>
      </dgm:spPr>
      <dgm:t>
        <a:bodyPr/>
        <a:lstStyle/>
        <a:p>
          <a:pPr rtl="0"/>
          <a:r>
            <a:rPr lang="cs-CZ" b="1" i="0" noProof="0" dirty="0">
              <a:solidFill>
                <a:srgbClr val="FFFFFF"/>
              </a:solidFill>
              <a:latin typeface="+mn-lt"/>
              <a:ea typeface="Ebrima" panose="02000000000000000000" pitchFamily="2" charset="0"/>
              <a:cs typeface="Ebrima" panose="02000000000000000000" pitchFamily="2" charset="0"/>
            </a:rPr>
            <a:t>Zvládání bezpečnostních událostí a incidentu</a:t>
          </a:r>
        </a:p>
      </dgm:t>
    </dgm:pt>
    <dgm:pt modelId="{DD380D48-B9A9-41CC-A360-DE8FFF7FC853}" type="parTrans" cxnId="{3A9F60CE-AE8A-42F5-8C66-83527A63B9EB}">
      <dgm:prSet/>
      <dgm:spPr/>
      <dgm:t>
        <a:bodyPr/>
        <a:lstStyle/>
        <a:p>
          <a:endParaRPr lang="cs-CZ" i="0"/>
        </a:p>
      </dgm:t>
    </dgm:pt>
    <dgm:pt modelId="{E27B79C3-8A9F-4083-8B2E-93E97E91F3F5}" type="sibTrans" cxnId="{3A9F60CE-AE8A-42F5-8C66-83527A63B9EB}">
      <dgm:prSet/>
      <dgm:spPr/>
      <dgm:t>
        <a:bodyPr/>
        <a:lstStyle/>
        <a:p>
          <a:endParaRPr lang="cs-CZ" i="0"/>
        </a:p>
      </dgm:t>
    </dgm:pt>
    <dgm:pt modelId="{AFEC3604-3345-7C4A-80AD-3A0725DCC358}">
      <dgm:prSet/>
      <dgm:spPr>
        <a:solidFill>
          <a:schemeClr val="tx2">
            <a:lumMod val="50000"/>
          </a:schemeClr>
        </a:solidFill>
      </dgm:spPr>
      <dgm:t>
        <a:bodyPr/>
        <a:lstStyle/>
        <a:p>
          <a:pPr rtl="0"/>
          <a:r>
            <a:rPr lang="cs-CZ" b="1" i="0" noProof="0" dirty="0">
              <a:solidFill>
                <a:srgbClr val="FFFFFF"/>
              </a:solidFill>
              <a:latin typeface="+mn-lt"/>
              <a:ea typeface="Ebrima" panose="02000000000000000000" pitchFamily="2" charset="0"/>
              <a:cs typeface="Ebrima" panose="02000000000000000000" pitchFamily="2" charset="0"/>
            </a:rPr>
            <a:t>Řízení dodavatelů, zdrojů, provozu</a:t>
          </a:r>
        </a:p>
      </dgm:t>
    </dgm:pt>
    <dgm:pt modelId="{204009EA-5EBF-5E4D-89F9-867F215D0688}" type="sibTrans" cxnId="{8E3FFE49-2968-DB4B-AEA5-01D8809D1C8A}">
      <dgm:prSet/>
      <dgm:spPr/>
      <dgm:t>
        <a:bodyPr/>
        <a:lstStyle/>
        <a:p>
          <a:endParaRPr lang="en-US" i="0"/>
        </a:p>
      </dgm:t>
    </dgm:pt>
    <dgm:pt modelId="{2F01EC7B-8293-0D41-937B-0BEFD9039E77}" type="parTrans" cxnId="{8E3FFE49-2968-DB4B-AEA5-01D8809D1C8A}">
      <dgm:prSet/>
      <dgm:spPr/>
      <dgm:t>
        <a:bodyPr/>
        <a:lstStyle/>
        <a:p>
          <a:endParaRPr lang="en-US" i="0"/>
        </a:p>
      </dgm:t>
    </dgm:pt>
    <dgm:pt modelId="{B850637D-C96A-4A45-92CD-662A1EF4A5D0}">
      <dgm:prSet/>
      <dgm:spPr>
        <a:solidFill>
          <a:srgbClr val="FFFFFF"/>
        </a:solidFill>
        <a:ln>
          <a:solidFill>
            <a:schemeClr val="bg1"/>
          </a:solidFill>
        </a:ln>
      </dgm:spPr>
      <dgm:t>
        <a:bodyPr/>
        <a:lstStyle/>
        <a:p>
          <a:pPr rtl="0"/>
          <a:r>
            <a:rPr lang="cs-CZ" b="1" i="0" noProof="0" dirty="0">
              <a:solidFill>
                <a:srgbClr val="FF0000"/>
              </a:solidFill>
              <a:latin typeface="+mn-lt"/>
              <a:ea typeface="Ebrima" panose="02000000000000000000" pitchFamily="2" charset="0"/>
              <a:cs typeface="Ebrima" panose="02000000000000000000" pitchFamily="2" charset="0"/>
            </a:rPr>
            <a:t>Procesy</a:t>
          </a:r>
        </a:p>
      </dgm:t>
    </dgm:pt>
    <dgm:pt modelId="{C478C22C-34A4-4772-AC9E-8CFC657F5562}" type="sibTrans" cxnId="{AB5E92E5-D268-4AB5-9E61-25E993F1F53E}">
      <dgm:prSet/>
      <dgm:spPr/>
      <dgm:t>
        <a:bodyPr/>
        <a:lstStyle/>
        <a:p>
          <a:endParaRPr lang="sk-SK" i="0"/>
        </a:p>
      </dgm:t>
    </dgm:pt>
    <dgm:pt modelId="{8CBC5787-AC99-4CBB-8A5D-8FAC6D60D032}" type="parTrans" cxnId="{AB5E92E5-D268-4AB5-9E61-25E993F1F53E}">
      <dgm:prSet/>
      <dgm:spPr/>
      <dgm:t>
        <a:bodyPr/>
        <a:lstStyle/>
        <a:p>
          <a:endParaRPr lang="sk-SK" i="0"/>
        </a:p>
      </dgm:t>
    </dgm:pt>
    <dgm:pt modelId="{24CBEE8A-7C37-4EE2-B3AE-A1EA918F95AE}">
      <dgm:prSet/>
      <dgm:spPr>
        <a:solidFill>
          <a:schemeClr val="tx2">
            <a:lumMod val="50000"/>
          </a:schemeClr>
        </a:solidFill>
      </dgm:spPr>
      <dgm:t>
        <a:bodyPr/>
        <a:lstStyle/>
        <a:p>
          <a:pPr rtl="0"/>
          <a:r>
            <a:rPr lang="cs-CZ" b="1" i="0" noProof="0" dirty="0">
              <a:solidFill>
                <a:srgbClr val="FFFFFF"/>
              </a:solidFill>
              <a:latin typeface="+mn-lt"/>
              <a:ea typeface="Ebrima" panose="02000000000000000000" pitchFamily="2" charset="0"/>
              <a:cs typeface="Ebrima" panose="02000000000000000000" pitchFamily="2" charset="0"/>
            </a:rPr>
            <a:t>Řízení bezpečnosti informaci</a:t>
          </a:r>
          <a:endParaRPr lang="en-US" b="1" i="0" noProof="0" dirty="0">
            <a:solidFill>
              <a:srgbClr val="FFFFFF"/>
            </a:solidFill>
            <a:latin typeface="+mn-lt"/>
            <a:ea typeface="Ebrima" panose="02000000000000000000" pitchFamily="2" charset="0"/>
            <a:cs typeface="Ebrima" panose="02000000000000000000" pitchFamily="2" charset="0"/>
          </a:endParaRPr>
        </a:p>
      </dgm:t>
    </dgm:pt>
    <dgm:pt modelId="{AE9A6E51-FA3F-4CA8-8575-5BAF51F88C45}" type="parTrans" cxnId="{A45FC6E6-F871-46C4-8D4C-478CB769731C}">
      <dgm:prSet/>
      <dgm:spPr/>
      <dgm:t>
        <a:bodyPr/>
        <a:lstStyle/>
        <a:p>
          <a:endParaRPr lang="sk-SK" i="0"/>
        </a:p>
      </dgm:t>
    </dgm:pt>
    <dgm:pt modelId="{7744026B-29CE-4F8F-BCC5-EB6A9A4FBF00}" type="sibTrans" cxnId="{A45FC6E6-F871-46C4-8D4C-478CB769731C}">
      <dgm:prSet/>
      <dgm:spPr/>
      <dgm:t>
        <a:bodyPr/>
        <a:lstStyle/>
        <a:p>
          <a:endParaRPr lang="sk-SK" i="0"/>
        </a:p>
      </dgm:t>
    </dgm:pt>
    <dgm:pt modelId="{3802456C-C34D-41B5-AE03-566C1DE88A67}">
      <dgm:prSet/>
      <dgm:spPr>
        <a:solidFill>
          <a:schemeClr val="tx2">
            <a:lumMod val="50000"/>
          </a:schemeClr>
        </a:solidFill>
      </dgm:spPr>
      <dgm:t>
        <a:bodyPr/>
        <a:lstStyle/>
        <a:p>
          <a:pPr rtl="0"/>
          <a:r>
            <a:rPr lang="cs-CZ" b="1" i="0" noProof="0" dirty="0">
              <a:solidFill>
                <a:srgbClr val="FFFFFF"/>
              </a:solidFill>
              <a:latin typeface="+mn-lt"/>
              <a:ea typeface="Ebrima" panose="02000000000000000000" pitchFamily="2" charset="0"/>
              <a:cs typeface="Ebrima" panose="02000000000000000000" pitchFamily="2" charset="0"/>
            </a:rPr>
            <a:t>Řízení kontinuity činnosti </a:t>
          </a:r>
        </a:p>
      </dgm:t>
    </dgm:pt>
    <dgm:pt modelId="{804A1CF8-85DF-4034-A287-22FD8CE49E95}" type="parTrans" cxnId="{578C8209-6395-4570-8907-B86C45184D97}">
      <dgm:prSet/>
      <dgm:spPr/>
      <dgm:t>
        <a:bodyPr/>
        <a:lstStyle/>
        <a:p>
          <a:endParaRPr lang="sk-SK" i="0"/>
        </a:p>
      </dgm:t>
    </dgm:pt>
    <dgm:pt modelId="{7A558896-58D8-43D4-BEBB-8FB51319CBC3}" type="sibTrans" cxnId="{578C8209-6395-4570-8907-B86C45184D97}">
      <dgm:prSet/>
      <dgm:spPr/>
      <dgm:t>
        <a:bodyPr/>
        <a:lstStyle/>
        <a:p>
          <a:endParaRPr lang="sk-SK" i="0"/>
        </a:p>
      </dgm:t>
    </dgm:pt>
    <dgm:pt modelId="{B2C8B97A-6448-4491-834D-EAF9E6B58BF2}">
      <dgm:prSet/>
      <dgm:spPr>
        <a:solidFill>
          <a:schemeClr val="tx2">
            <a:lumMod val="50000"/>
          </a:schemeClr>
        </a:solidFill>
      </dgm:spPr>
      <dgm:t>
        <a:bodyPr/>
        <a:lstStyle/>
        <a:p>
          <a:pPr rtl="0"/>
          <a:r>
            <a:rPr lang="cs-CZ" b="1" i="0" noProof="0" dirty="0">
              <a:solidFill>
                <a:srgbClr val="FFFFFF"/>
              </a:solidFill>
              <a:latin typeface="+mn-lt"/>
              <a:ea typeface="Ebrima" panose="02000000000000000000" pitchFamily="2" charset="0"/>
              <a:cs typeface="Ebrima" panose="02000000000000000000" pitchFamily="2" charset="0"/>
            </a:rPr>
            <a:t>Řízení přístupů</a:t>
          </a:r>
        </a:p>
      </dgm:t>
    </dgm:pt>
    <dgm:pt modelId="{CAACBB6C-FFB3-404F-8376-B2A3A276C579}" type="parTrans" cxnId="{862C0045-C20E-44DA-BE75-D61BBB9158F2}">
      <dgm:prSet/>
      <dgm:spPr/>
      <dgm:t>
        <a:bodyPr/>
        <a:lstStyle/>
        <a:p>
          <a:endParaRPr lang="sk-SK" i="0"/>
        </a:p>
      </dgm:t>
    </dgm:pt>
    <dgm:pt modelId="{6563D796-A4E1-4A71-8235-25912FAA200A}" type="sibTrans" cxnId="{862C0045-C20E-44DA-BE75-D61BBB9158F2}">
      <dgm:prSet/>
      <dgm:spPr/>
      <dgm:t>
        <a:bodyPr/>
        <a:lstStyle/>
        <a:p>
          <a:endParaRPr lang="sk-SK" i="0"/>
        </a:p>
      </dgm:t>
    </dgm:pt>
    <dgm:pt modelId="{4A417B2C-D01E-4A5C-9DC8-021B2C13129D}">
      <dgm:prSet/>
      <dgm:spPr>
        <a:solidFill>
          <a:schemeClr val="tx2">
            <a:lumMod val="50000"/>
          </a:schemeClr>
        </a:solidFill>
      </dgm:spPr>
      <dgm:t>
        <a:bodyPr/>
        <a:lstStyle/>
        <a:p>
          <a:pPr rtl="0"/>
          <a:r>
            <a:rPr lang="cs-CZ" b="1" i="0" noProof="0" dirty="0">
              <a:solidFill>
                <a:srgbClr val="FFFFFF"/>
              </a:solidFill>
              <a:latin typeface="+mn-lt"/>
              <a:ea typeface="Ebrima" panose="02000000000000000000" pitchFamily="2" charset="0"/>
              <a:cs typeface="Ebrima" panose="02000000000000000000" pitchFamily="2" charset="0"/>
            </a:rPr>
            <a:t>Ochrana před škodlivým kódem</a:t>
          </a:r>
          <a:endParaRPr lang="en-US" b="1" i="0" noProof="0" dirty="0">
            <a:solidFill>
              <a:srgbClr val="FFFFFF"/>
            </a:solidFill>
            <a:latin typeface="+mn-lt"/>
            <a:ea typeface="Ebrima" panose="02000000000000000000" pitchFamily="2" charset="0"/>
            <a:cs typeface="Ebrima" panose="02000000000000000000" pitchFamily="2" charset="0"/>
          </a:endParaRPr>
        </a:p>
      </dgm:t>
    </dgm:pt>
    <dgm:pt modelId="{4642E998-B791-4C90-A817-02B68A9CFF1D}" type="parTrans" cxnId="{7EE5A530-2A6A-4D6B-94AB-3C2845460DC2}">
      <dgm:prSet/>
      <dgm:spPr/>
      <dgm:t>
        <a:bodyPr/>
        <a:lstStyle/>
        <a:p>
          <a:endParaRPr lang="sk-SK" i="0"/>
        </a:p>
      </dgm:t>
    </dgm:pt>
    <dgm:pt modelId="{CEE4B2BB-9675-4F79-B131-022391AA82F3}" type="sibTrans" cxnId="{7EE5A530-2A6A-4D6B-94AB-3C2845460DC2}">
      <dgm:prSet/>
      <dgm:spPr/>
      <dgm:t>
        <a:bodyPr/>
        <a:lstStyle/>
        <a:p>
          <a:endParaRPr lang="sk-SK" i="0"/>
        </a:p>
      </dgm:t>
    </dgm:pt>
    <dgm:pt modelId="{F49B66C4-5324-4E09-BA46-1A39BC8518D3}">
      <dgm:prSet/>
      <dgm:spPr>
        <a:solidFill>
          <a:schemeClr val="tx2">
            <a:lumMod val="50000"/>
          </a:schemeClr>
        </a:solidFill>
      </dgm:spPr>
      <dgm:t>
        <a:bodyPr/>
        <a:lstStyle/>
        <a:p>
          <a:pPr rtl="0"/>
          <a:r>
            <a:rPr lang="cs-CZ" b="1" i="0" noProof="0" dirty="0">
              <a:solidFill>
                <a:srgbClr val="FFFFFF"/>
              </a:solidFill>
              <a:latin typeface="+mn-lt"/>
              <a:ea typeface="Ebrima" panose="02000000000000000000" pitchFamily="2" charset="0"/>
              <a:cs typeface="Ebrima" panose="02000000000000000000" pitchFamily="2" charset="0"/>
            </a:rPr>
            <a:t>Detekce kybernetických bez. událostí</a:t>
          </a:r>
        </a:p>
      </dgm:t>
    </dgm:pt>
    <dgm:pt modelId="{24564914-F5DF-4C0A-80D7-769550E46EBC}" type="parTrans" cxnId="{6A1F0107-4A19-434A-A935-3472DDB785EE}">
      <dgm:prSet/>
      <dgm:spPr/>
      <dgm:t>
        <a:bodyPr/>
        <a:lstStyle/>
        <a:p>
          <a:endParaRPr lang="sk-SK" i="0"/>
        </a:p>
      </dgm:t>
    </dgm:pt>
    <dgm:pt modelId="{95780041-CF4D-42C6-8195-C965719ADF7C}" type="sibTrans" cxnId="{6A1F0107-4A19-434A-A935-3472DDB785EE}">
      <dgm:prSet/>
      <dgm:spPr/>
      <dgm:t>
        <a:bodyPr/>
        <a:lstStyle/>
        <a:p>
          <a:endParaRPr lang="sk-SK" i="0"/>
        </a:p>
      </dgm:t>
    </dgm:pt>
    <dgm:pt modelId="{E00AED95-A3A0-4088-A7BC-E49BFB0C6E4A}">
      <dgm:prSet/>
      <dgm:spPr>
        <a:solidFill>
          <a:schemeClr val="tx2">
            <a:lumMod val="50000"/>
          </a:schemeClr>
        </a:solidFill>
      </dgm:spPr>
      <dgm:t>
        <a:bodyPr/>
        <a:lstStyle/>
        <a:p>
          <a:pPr rtl="0"/>
          <a:r>
            <a:rPr lang="cs-CZ" b="1" i="0" noProof="0" dirty="0">
              <a:solidFill>
                <a:srgbClr val="FFFFFF"/>
              </a:solidFill>
              <a:latin typeface="+mn-lt"/>
              <a:ea typeface="Ebrima" panose="02000000000000000000" pitchFamily="2" charset="0"/>
              <a:cs typeface="Ebrima" panose="02000000000000000000" pitchFamily="2" charset="0"/>
            </a:rPr>
            <a:t>Kryptografické prostředky</a:t>
          </a:r>
        </a:p>
      </dgm:t>
    </dgm:pt>
    <dgm:pt modelId="{D47F1C45-4B5B-445A-AC20-29E9313805E6}" type="parTrans" cxnId="{6065FBDE-04A8-4681-9BFA-60A1AE3DE4EF}">
      <dgm:prSet/>
      <dgm:spPr/>
      <dgm:t>
        <a:bodyPr/>
        <a:lstStyle/>
        <a:p>
          <a:endParaRPr lang="sk-SK" i="0"/>
        </a:p>
      </dgm:t>
    </dgm:pt>
    <dgm:pt modelId="{F6DEC682-34E6-42C6-94CA-FDF2FB08F1B2}" type="sibTrans" cxnId="{6065FBDE-04A8-4681-9BFA-60A1AE3DE4EF}">
      <dgm:prSet/>
      <dgm:spPr/>
      <dgm:t>
        <a:bodyPr/>
        <a:lstStyle/>
        <a:p>
          <a:endParaRPr lang="sk-SK" i="0"/>
        </a:p>
      </dgm:t>
    </dgm:pt>
    <dgm:pt modelId="{B0D4054E-CF93-495D-8DFD-1E55BAB5A8FC}">
      <dgm:prSet/>
      <dgm:spPr>
        <a:solidFill>
          <a:srgbClr val="FFFFFF"/>
        </a:solidFill>
        <a:ln>
          <a:solidFill>
            <a:schemeClr val="tx1"/>
          </a:solidFill>
        </a:ln>
      </dgm:spPr>
      <dgm:t>
        <a:bodyPr/>
        <a:lstStyle/>
        <a:p>
          <a:pPr rtl="0"/>
          <a:r>
            <a:rPr lang="cs-CZ" b="1" i="0" noProof="0" dirty="0">
              <a:solidFill>
                <a:srgbClr val="FF0000"/>
              </a:solidFill>
              <a:latin typeface="+mn-lt"/>
              <a:ea typeface="Ebrima" panose="02000000000000000000" pitchFamily="2" charset="0"/>
              <a:cs typeface="Ebrima" panose="02000000000000000000" pitchFamily="2" charset="0"/>
            </a:rPr>
            <a:t>Lidé</a:t>
          </a:r>
        </a:p>
      </dgm:t>
    </dgm:pt>
    <dgm:pt modelId="{BFCE4052-0185-4F4B-ACAD-70311F4697CB}" type="parTrans" cxnId="{C34810D3-2D4B-4946-B56D-C63E4069CB2A}">
      <dgm:prSet/>
      <dgm:spPr/>
      <dgm:t>
        <a:bodyPr/>
        <a:lstStyle/>
        <a:p>
          <a:endParaRPr lang="cs-CZ" i="0"/>
        </a:p>
      </dgm:t>
    </dgm:pt>
    <dgm:pt modelId="{E2ED9F0A-1A63-4592-95E2-B8455B90229B}" type="sibTrans" cxnId="{C34810D3-2D4B-4946-B56D-C63E4069CB2A}">
      <dgm:prSet/>
      <dgm:spPr/>
      <dgm:t>
        <a:bodyPr/>
        <a:lstStyle/>
        <a:p>
          <a:endParaRPr lang="cs-CZ" i="0"/>
        </a:p>
      </dgm:t>
    </dgm:pt>
    <dgm:pt modelId="{06B5C771-BEB0-415D-8D13-FB4599C0474B}">
      <dgm:prSet/>
      <dgm:spPr>
        <a:solidFill>
          <a:schemeClr val="tx2">
            <a:lumMod val="50000"/>
          </a:schemeClr>
        </a:solidFill>
      </dgm:spPr>
      <dgm:t>
        <a:bodyPr/>
        <a:lstStyle/>
        <a:p>
          <a:pPr rtl="0"/>
          <a:r>
            <a:rPr lang="cs-CZ" b="1" i="0" noProof="0" dirty="0">
              <a:solidFill>
                <a:srgbClr val="FFFFFF"/>
              </a:solidFill>
              <a:latin typeface="+mn-lt"/>
              <a:ea typeface="Ebrima" panose="02000000000000000000" pitchFamily="2" charset="0"/>
              <a:cs typeface="Ebrima" panose="02000000000000000000" pitchFamily="2" charset="0"/>
            </a:rPr>
            <a:t>Manažerské zajištění (odpovědnost)</a:t>
          </a:r>
        </a:p>
      </dgm:t>
    </dgm:pt>
    <dgm:pt modelId="{41566CC4-B30D-4E07-915A-37297F8F5568}" type="parTrans" cxnId="{2D21DA53-FA7C-4DFB-9277-6095D8F4F479}">
      <dgm:prSet/>
      <dgm:spPr/>
      <dgm:t>
        <a:bodyPr/>
        <a:lstStyle/>
        <a:p>
          <a:endParaRPr lang="cs-CZ" i="0"/>
        </a:p>
      </dgm:t>
    </dgm:pt>
    <dgm:pt modelId="{FAE909E8-BB0A-413B-B59C-354F40E00DAF}" type="sibTrans" cxnId="{2D21DA53-FA7C-4DFB-9277-6095D8F4F479}">
      <dgm:prSet/>
      <dgm:spPr/>
      <dgm:t>
        <a:bodyPr/>
        <a:lstStyle/>
        <a:p>
          <a:endParaRPr lang="cs-CZ" i="0"/>
        </a:p>
      </dgm:t>
    </dgm:pt>
    <dgm:pt modelId="{E63669A3-7A75-4D55-B685-27E021D54474}">
      <dgm:prSet/>
      <dgm:spPr>
        <a:solidFill>
          <a:schemeClr val="tx2">
            <a:lumMod val="50000"/>
          </a:schemeClr>
        </a:solidFill>
      </dgm:spPr>
      <dgm:t>
        <a:bodyPr/>
        <a:lstStyle/>
        <a:p>
          <a:pPr rtl="0"/>
          <a:r>
            <a:rPr lang="cs-CZ" b="1" i="0" noProof="0" dirty="0">
              <a:solidFill>
                <a:srgbClr val="FFFFFF"/>
              </a:solidFill>
              <a:latin typeface="+mn-lt"/>
              <a:ea typeface="Ebrima" panose="02000000000000000000" pitchFamily="2" charset="0"/>
              <a:cs typeface="Ebrima" panose="02000000000000000000" pitchFamily="2" charset="0"/>
            </a:rPr>
            <a:t>Interní zdroje </a:t>
          </a:r>
        </a:p>
        <a:p>
          <a:pPr rtl="0"/>
          <a:r>
            <a:rPr lang="cs-CZ" b="1" i="0" noProof="0" dirty="0">
              <a:solidFill>
                <a:srgbClr val="FFFFFF"/>
              </a:solidFill>
              <a:latin typeface="+mn-lt"/>
              <a:ea typeface="Ebrima" panose="02000000000000000000" pitchFamily="2" charset="0"/>
              <a:cs typeface="Ebrima" panose="02000000000000000000" pitchFamily="2" charset="0"/>
            </a:rPr>
            <a:t>(oddělení ICT)</a:t>
          </a:r>
        </a:p>
      </dgm:t>
    </dgm:pt>
    <dgm:pt modelId="{D81A9140-AA4E-4AB7-9341-DB54B85431B6}" type="parTrans" cxnId="{F1EA7ED8-50E2-4241-A9DE-F7B4BABE2A19}">
      <dgm:prSet/>
      <dgm:spPr/>
      <dgm:t>
        <a:bodyPr/>
        <a:lstStyle/>
        <a:p>
          <a:endParaRPr lang="cs-CZ" i="0"/>
        </a:p>
      </dgm:t>
    </dgm:pt>
    <dgm:pt modelId="{64DBD494-AABA-4B5B-B670-C9D998939D45}" type="sibTrans" cxnId="{F1EA7ED8-50E2-4241-A9DE-F7B4BABE2A19}">
      <dgm:prSet/>
      <dgm:spPr/>
      <dgm:t>
        <a:bodyPr/>
        <a:lstStyle/>
        <a:p>
          <a:endParaRPr lang="cs-CZ" i="0"/>
        </a:p>
      </dgm:t>
    </dgm:pt>
    <dgm:pt modelId="{C85E2352-98FF-4784-A036-6E73A97F5740}">
      <dgm:prSet/>
      <dgm:spPr>
        <a:solidFill>
          <a:schemeClr val="tx2">
            <a:lumMod val="50000"/>
          </a:schemeClr>
        </a:solidFill>
      </dgm:spPr>
      <dgm:t>
        <a:bodyPr/>
        <a:lstStyle/>
        <a:p>
          <a:pPr rtl="0"/>
          <a:r>
            <a:rPr lang="cs-CZ" b="1" i="0" noProof="0" dirty="0">
              <a:solidFill>
                <a:srgbClr val="FFFFFF"/>
              </a:solidFill>
              <a:latin typeface="+mn-lt"/>
              <a:ea typeface="Ebrima" panose="02000000000000000000" pitchFamily="2" charset="0"/>
              <a:cs typeface="Ebrima" panose="02000000000000000000" pitchFamily="2" charset="0"/>
            </a:rPr>
            <a:t>Externí zdroje </a:t>
          </a:r>
        </a:p>
        <a:p>
          <a:pPr rtl="0"/>
          <a:r>
            <a:rPr lang="cs-CZ" b="1" i="0" noProof="0" dirty="0">
              <a:solidFill>
                <a:srgbClr val="FFFFFF"/>
              </a:solidFill>
              <a:latin typeface="+mn-lt"/>
              <a:ea typeface="Ebrima" panose="02000000000000000000" pitchFamily="2" charset="0"/>
              <a:cs typeface="Ebrima" panose="02000000000000000000" pitchFamily="2" charset="0"/>
            </a:rPr>
            <a:t>(konzultanti, služby SOC)</a:t>
          </a:r>
        </a:p>
      </dgm:t>
    </dgm:pt>
    <dgm:pt modelId="{A8FBF828-D220-4DBB-AE32-3A0578BF1E8C}" type="parTrans" cxnId="{103A3B64-714A-4096-BDEB-FBA17217188A}">
      <dgm:prSet/>
      <dgm:spPr/>
      <dgm:t>
        <a:bodyPr/>
        <a:lstStyle/>
        <a:p>
          <a:endParaRPr lang="cs-CZ" i="0"/>
        </a:p>
      </dgm:t>
    </dgm:pt>
    <dgm:pt modelId="{95541E19-D014-48BA-B690-B6A840D4AE72}" type="sibTrans" cxnId="{103A3B64-714A-4096-BDEB-FBA17217188A}">
      <dgm:prSet/>
      <dgm:spPr/>
      <dgm:t>
        <a:bodyPr/>
        <a:lstStyle/>
        <a:p>
          <a:endParaRPr lang="cs-CZ" i="0"/>
        </a:p>
      </dgm:t>
    </dgm:pt>
    <dgm:pt modelId="{6A6F0669-57B0-493C-87C5-41947BB3BC71}" type="pres">
      <dgm:prSet presAssocID="{BEC47828-E30F-4C51-8634-C054B30CEA78}" presName="theList" presStyleCnt="0">
        <dgm:presLayoutVars>
          <dgm:dir/>
          <dgm:animLvl val="lvl"/>
          <dgm:resizeHandles val="exact"/>
        </dgm:presLayoutVars>
      </dgm:prSet>
      <dgm:spPr/>
    </dgm:pt>
    <dgm:pt modelId="{0C342E07-A45F-4905-B4E2-61220150C3C0}" type="pres">
      <dgm:prSet presAssocID="{B850637D-C96A-4A45-92CD-662A1EF4A5D0}" presName="compNode" presStyleCnt="0"/>
      <dgm:spPr/>
    </dgm:pt>
    <dgm:pt modelId="{8BAE3201-9F18-4662-B3FC-03A7E2AD7B21}" type="pres">
      <dgm:prSet presAssocID="{B850637D-C96A-4A45-92CD-662A1EF4A5D0}" presName="aNode" presStyleLbl="bgShp" presStyleIdx="0" presStyleCnt="3"/>
      <dgm:spPr/>
    </dgm:pt>
    <dgm:pt modelId="{A6F9B62A-9473-49AE-A152-0ACA5967AD52}" type="pres">
      <dgm:prSet presAssocID="{B850637D-C96A-4A45-92CD-662A1EF4A5D0}" presName="textNode" presStyleLbl="bgShp" presStyleIdx="0" presStyleCnt="3"/>
      <dgm:spPr/>
    </dgm:pt>
    <dgm:pt modelId="{8FFC643B-F670-44B1-8594-9A7AAECD7454}" type="pres">
      <dgm:prSet presAssocID="{B850637D-C96A-4A45-92CD-662A1EF4A5D0}" presName="compChildNode" presStyleCnt="0"/>
      <dgm:spPr/>
    </dgm:pt>
    <dgm:pt modelId="{83CD7093-ABED-4D8E-9BA2-38300B2C02A3}" type="pres">
      <dgm:prSet presAssocID="{B850637D-C96A-4A45-92CD-662A1EF4A5D0}" presName="theInnerList" presStyleCnt="0"/>
      <dgm:spPr/>
    </dgm:pt>
    <dgm:pt modelId="{AB5F6958-2459-4DD5-B8CA-E87497F23653}" type="pres">
      <dgm:prSet presAssocID="{24CBEE8A-7C37-4EE2-B3AE-A1EA918F95AE}" presName="childNode" presStyleLbl="node1" presStyleIdx="0" presStyleCnt="16" custLinFactNeighborX="-398">
        <dgm:presLayoutVars>
          <dgm:bulletEnabled val="1"/>
        </dgm:presLayoutVars>
      </dgm:prSet>
      <dgm:spPr/>
    </dgm:pt>
    <dgm:pt modelId="{32020D3F-FE33-4642-AF3D-FF3F1E39A82C}" type="pres">
      <dgm:prSet presAssocID="{24CBEE8A-7C37-4EE2-B3AE-A1EA918F95AE}" presName="aSpace2" presStyleCnt="0"/>
      <dgm:spPr/>
    </dgm:pt>
    <dgm:pt modelId="{70710E96-8336-46C6-87C7-73A3E1CC7191}" type="pres">
      <dgm:prSet presAssocID="{7A52CA84-B153-4037-8417-42ECE0EC60A1}" presName="childNode" presStyleLbl="node1" presStyleIdx="1" presStyleCnt="16" custLinFactNeighborX="-398">
        <dgm:presLayoutVars>
          <dgm:bulletEnabled val="1"/>
        </dgm:presLayoutVars>
      </dgm:prSet>
      <dgm:spPr/>
    </dgm:pt>
    <dgm:pt modelId="{7C928F39-E5BF-4790-ACEA-F2EB03D36F69}" type="pres">
      <dgm:prSet presAssocID="{7A52CA84-B153-4037-8417-42ECE0EC60A1}" presName="aSpace2" presStyleCnt="0"/>
      <dgm:spPr/>
    </dgm:pt>
    <dgm:pt modelId="{3369783A-95A8-4EC8-B7E3-BB1FF0B38BDF}" type="pres">
      <dgm:prSet presAssocID="{AFEC3604-3345-7C4A-80AD-3A0725DCC358}" presName="childNode" presStyleLbl="node1" presStyleIdx="2" presStyleCnt="16" custLinFactNeighborX="-398">
        <dgm:presLayoutVars>
          <dgm:bulletEnabled val="1"/>
        </dgm:presLayoutVars>
      </dgm:prSet>
      <dgm:spPr/>
    </dgm:pt>
    <dgm:pt modelId="{1530397E-5B28-440D-AB65-FF80139D0CF7}" type="pres">
      <dgm:prSet presAssocID="{AFEC3604-3345-7C4A-80AD-3A0725DCC358}" presName="aSpace2" presStyleCnt="0"/>
      <dgm:spPr/>
    </dgm:pt>
    <dgm:pt modelId="{0A573155-5BCF-4ACD-AB2F-16FE7EF4BD5D}" type="pres">
      <dgm:prSet presAssocID="{B2C8B97A-6448-4491-834D-EAF9E6B58BF2}" presName="childNode" presStyleLbl="node1" presStyleIdx="3" presStyleCnt="16">
        <dgm:presLayoutVars>
          <dgm:bulletEnabled val="1"/>
        </dgm:presLayoutVars>
      </dgm:prSet>
      <dgm:spPr/>
    </dgm:pt>
    <dgm:pt modelId="{4020B8F1-3508-4904-B57C-85F0F6C3CE33}" type="pres">
      <dgm:prSet presAssocID="{B2C8B97A-6448-4491-834D-EAF9E6B58BF2}" presName="aSpace2" presStyleCnt="0"/>
      <dgm:spPr/>
    </dgm:pt>
    <dgm:pt modelId="{625D4F7D-3206-4B64-9401-2E3B2E33EF1A}" type="pres">
      <dgm:prSet presAssocID="{3802456C-C34D-41B5-AE03-566C1DE88A67}" presName="childNode" presStyleLbl="node1" presStyleIdx="4" presStyleCnt="16">
        <dgm:presLayoutVars>
          <dgm:bulletEnabled val="1"/>
        </dgm:presLayoutVars>
      </dgm:prSet>
      <dgm:spPr/>
    </dgm:pt>
    <dgm:pt modelId="{6CCF8BE3-A26A-4638-BE33-8A1C22AAC48F}" type="pres">
      <dgm:prSet presAssocID="{3802456C-C34D-41B5-AE03-566C1DE88A67}" presName="aSpace2" presStyleCnt="0"/>
      <dgm:spPr/>
    </dgm:pt>
    <dgm:pt modelId="{D48D90A8-40B9-4185-ADD4-DB4256DD7818}" type="pres">
      <dgm:prSet presAssocID="{A53EC3E8-7E14-4EB0-AA21-170C8A5128F5}" presName="childNode" presStyleLbl="node1" presStyleIdx="5" presStyleCnt="16">
        <dgm:presLayoutVars>
          <dgm:bulletEnabled val="1"/>
        </dgm:presLayoutVars>
      </dgm:prSet>
      <dgm:spPr/>
    </dgm:pt>
    <dgm:pt modelId="{91E6AEA2-BB7A-44A6-985A-C8345D0EC003}" type="pres">
      <dgm:prSet presAssocID="{B850637D-C96A-4A45-92CD-662A1EF4A5D0}" presName="aSpace" presStyleCnt="0"/>
      <dgm:spPr/>
    </dgm:pt>
    <dgm:pt modelId="{A37DFE0A-77C5-4F92-8CC7-5FACB4CA7DB7}" type="pres">
      <dgm:prSet presAssocID="{AE2E23BD-E513-4338-98BB-0F85005311CE}" presName="compNode" presStyleCnt="0"/>
      <dgm:spPr/>
    </dgm:pt>
    <dgm:pt modelId="{E7564195-B13F-4D5F-983C-BC18B767712A}" type="pres">
      <dgm:prSet presAssocID="{AE2E23BD-E513-4338-98BB-0F85005311CE}" presName="aNode" presStyleLbl="bgShp" presStyleIdx="1" presStyleCnt="3" custLinFactNeighborY="224"/>
      <dgm:spPr/>
    </dgm:pt>
    <dgm:pt modelId="{604495C2-7E51-4785-A7E8-4A762528B412}" type="pres">
      <dgm:prSet presAssocID="{AE2E23BD-E513-4338-98BB-0F85005311CE}" presName="textNode" presStyleLbl="bgShp" presStyleIdx="1" presStyleCnt="3"/>
      <dgm:spPr/>
    </dgm:pt>
    <dgm:pt modelId="{BC65F0DC-6069-42CC-9973-80501EED0DAD}" type="pres">
      <dgm:prSet presAssocID="{AE2E23BD-E513-4338-98BB-0F85005311CE}" presName="compChildNode" presStyleCnt="0"/>
      <dgm:spPr/>
    </dgm:pt>
    <dgm:pt modelId="{4BB341F7-E41A-4E60-8C8E-9806514DF238}" type="pres">
      <dgm:prSet presAssocID="{AE2E23BD-E513-4338-98BB-0F85005311CE}" presName="theInnerList" presStyleCnt="0"/>
      <dgm:spPr/>
    </dgm:pt>
    <dgm:pt modelId="{93FE7F8B-D97A-4D05-A29F-28CECBC04D06}" type="pres">
      <dgm:prSet presAssocID="{4ED6D318-629A-3F44-8227-AF23181064A1}" presName="childNode" presStyleLbl="node1" presStyleIdx="6" presStyleCnt="16">
        <dgm:presLayoutVars>
          <dgm:bulletEnabled val="1"/>
        </dgm:presLayoutVars>
      </dgm:prSet>
      <dgm:spPr/>
    </dgm:pt>
    <dgm:pt modelId="{4AB2E473-3E97-4C0C-BD0A-A2B454232DA2}" type="pres">
      <dgm:prSet presAssocID="{4ED6D318-629A-3F44-8227-AF23181064A1}" presName="aSpace2" presStyleCnt="0"/>
      <dgm:spPr/>
    </dgm:pt>
    <dgm:pt modelId="{622AF4A0-2B22-42B8-9B02-FD64E9B3A403}" type="pres">
      <dgm:prSet presAssocID="{66875099-C05E-1C48-A5D1-E831B5CBB4AD}" presName="childNode" presStyleLbl="node1" presStyleIdx="7" presStyleCnt="16">
        <dgm:presLayoutVars>
          <dgm:bulletEnabled val="1"/>
        </dgm:presLayoutVars>
      </dgm:prSet>
      <dgm:spPr/>
    </dgm:pt>
    <dgm:pt modelId="{503C33EC-4FC8-4D33-924A-99D662442C33}" type="pres">
      <dgm:prSet presAssocID="{66875099-C05E-1C48-A5D1-E831B5CBB4AD}" presName="aSpace2" presStyleCnt="0"/>
      <dgm:spPr/>
    </dgm:pt>
    <dgm:pt modelId="{2C6F2F0D-C809-46A3-B29A-D5015E30C177}" type="pres">
      <dgm:prSet presAssocID="{BEBEEFDF-4D2A-CF48-B9EF-E3BF4EFC1F42}" presName="childNode" presStyleLbl="node1" presStyleIdx="8" presStyleCnt="16">
        <dgm:presLayoutVars>
          <dgm:bulletEnabled val="1"/>
        </dgm:presLayoutVars>
      </dgm:prSet>
      <dgm:spPr/>
    </dgm:pt>
    <dgm:pt modelId="{D3DF318E-F2F6-4BEC-B488-2AC38EEE95BE}" type="pres">
      <dgm:prSet presAssocID="{BEBEEFDF-4D2A-CF48-B9EF-E3BF4EFC1F42}" presName="aSpace2" presStyleCnt="0"/>
      <dgm:spPr/>
    </dgm:pt>
    <dgm:pt modelId="{72723580-1BB1-44BA-B3E5-DE9414412DA5}" type="pres">
      <dgm:prSet presAssocID="{4A417B2C-D01E-4A5C-9DC8-021B2C13129D}" presName="childNode" presStyleLbl="node1" presStyleIdx="9" presStyleCnt="16">
        <dgm:presLayoutVars>
          <dgm:bulletEnabled val="1"/>
        </dgm:presLayoutVars>
      </dgm:prSet>
      <dgm:spPr/>
    </dgm:pt>
    <dgm:pt modelId="{32B2ECBA-96FE-4644-9241-F5509E03545F}" type="pres">
      <dgm:prSet presAssocID="{4A417B2C-D01E-4A5C-9DC8-021B2C13129D}" presName="aSpace2" presStyleCnt="0"/>
      <dgm:spPr/>
    </dgm:pt>
    <dgm:pt modelId="{EC0E4679-DF4B-4839-9335-EE4E137FF4A7}" type="pres">
      <dgm:prSet presAssocID="{22C606A9-00C3-469A-A174-CAA07BB78D1C}" presName="childNode" presStyleLbl="node1" presStyleIdx="10" presStyleCnt="16">
        <dgm:presLayoutVars>
          <dgm:bulletEnabled val="1"/>
        </dgm:presLayoutVars>
      </dgm:prSet>
      <dgm:spPr/>
    </dgm:pt>
    <dgm:pt modelId="{0BA27C2B-6D65-4E6A-89F0-C9AB4CEE53DE}" type="pres">
      <dgm:prSet presAssocID="{22C606A9-00C3-469A-A174-CAA07BB78D1C}" presName="aSpace2" presStyleCnt="0"/>
      <dgm:spPr/>
    </dgm:pt>
    <dgm:pt modelId="{52B3ADAF-1D5E-422C-A4E3-FE394C723AF2}" type="pres">
      <dgm:prSet presAssocID="{F49B66C4-5324-4E09-BA46-1A39BC8518D3}" presName="childNode" presStyleLbl="node1" presStyleIdx="11" presStyleCnt="16">
        <dgm:presLayoutVars>
          <dgm:bulletEnabled val="1"/>
        </dgm:presLayoutVars>
      </dgm:prSet>
      <dgm:spPr/>
    </dgm:pt>
    <dgm:pt modelId="{50C021E1-33B5-4CDF-B31B-265244FFEC08}" type="pres">
      <dgm:prSet presAssocID="{F49B66C4-5324-4E09-BA46-1A39BC8518D3}" presName="aSpace2" presStyleCnt="0"/>
      <dgm:spPr/>
    </dgm:pt>
    <dgm:pt modelId="{F420B201-4211-41B5-8B8D-A07329D2E300}" type="pres">
      <dgm:prSet presAssocID="{E00AED95-A3A0-4088-A7BC-E49BFB0C6E4A}" presName="childNode" presStyleLbl="node1" presStyleIdx="12" presStyleCnt="16">
        <dgm:presLayoutVars>
          <dgm:bulletEnabled val="1"/>
        </dgm:presLayoutVars>
      </dgm:prSet>
      <dgm:spPr/>
    </dgm:pt>
    <dgm:pt modelId="{37341531-BA4C-4666-98ED-D60132C7747A}" type="pres">
      <dgm:prSet presAssocID="{AE2E23BD-E513-4338-98BB-0F85005311CE}" presName="aSpace" presStyleCnt="0"/>
      <dgm:spPr/>
    </dgm:pt>
    <dgm:pt modelId="{2748D7EA-DF39-4F54-A6C8-4D6EC986BD34}" type="pres">
      <dgm:prSet presAssocID="{B0D4054E-CF93-495D-8DFD-1E55BAB5A8FC}" presName="compNode" presStyleCnt="0"/>
      <dgm:spPr/>
    </dgm:pt>
    <dgm:pt modelId="{CDE36B7A-A8A1-4FAE-B981-22EC07E4F40C}" type="pres">
      <dgm:prSet presAssocID="{B0D4054E-CF93-495D-8DFD-1E55BAB5A8FC}" presName="aNode" presStyleLbl="bgShp" presStyleIdx="2" presStyleCnt="3" custLinFactNeighborY="224"/>
      <dgm:spPr/>
    </dgm:pt>
    <dgm:pt modelId="{8C2FD3A2-7ACB-4A64-8EE5-648C6F200288}" type="pres">
      <dgm:prSet presAssocID="{B0D4054E-CF93-495D-8DFD-1E55BAB5A8FC}" presName="textNode" presStyleLbl="bgShp" presStyleIdx="2" presStyleCnt="3"/>
      <dgm:spPr/>
    </dgm:pt>
    <dgm:pt modelId="{A65559A5-3E8E-4F24-9EFF-D3BB9E4816FA}" type="pres">
      <dgm:prSet presAssocID="{B0D4054E-CF93-495D-8DFD-1E55BAB5A8FC}" presName="compChildNode" presStyleCnt="0"/>
      <dgm:spPr/>
    </dgm:pt>
    <dgm:pt modelId="{64F7F4DC-B6EA-4AF1-BE41-6EF344247866}" type="pres">
      <dgm:prSet presAssocID="{B0D4054E-CF93-495D-8DFD-1E55BAB5A8FC}" presName="theInnerList" presStyleCnt="0"/>
      <dgm:spPr/>
    </dgm:pt>
    <dgm:pt modelId="{CA0AC264-2BA3-4CDE-945B-BC8780486C3A}" type="pres">
      <dgm:prSet presAssocID="{06B5C771-BEB0-415D-8D13-FB4599C0474B}" presName="childNode" presStyleLbl="node1" presStyleIdx="13" presStyleCnt="16">
        <dgm:presLayoutVars>
          <dgm:bulletEnabled val="1"/>
        </dgm:presLayoutVars>
      </dgm:prSet>
      <dgm:spPr/>
    </dgm:pt>
    <dgm:pt modelId="{28D1A6A5-5F66-476A-9C39-2F4922BC949A}" type="pres">
      <dgm:prSet presAssocID="{06B5C771-BEB0-415D-8D13-FB4599C0474B}" presName="aSpace2" presStyleCnt="0"/>
      <dgm:spPr/>
    </dgm:pt>
    <dgm:pt modelId="{7CFBA7B4-9CC5-40DE-B794-0DBEA51274B9}" type="pres">
      <dgm:prSet presAssocID="{E63669A3-7A75-4D55-B685-27E021D54474}" presName="childNode" presStyleLbl="node1" presStyleIdx="14" presStyleCnt="16">
        <dgm:presLayoutVars>
          <dgm:bulletEnabled val="1"/>
        </dgm:presLayoutVars>
      </dgm:prSet>
      <dgm:spPr/>
    </dgm:pt>
    <dgm:pt modelId="{CF376806-F707-494B-9845-A071B465DB8D}" type="pres">
      <dgm:prSet presAssocID="{E63669A3-7A75-4D55-B685-27E021D54474}" presName="aSpace2" presStyleCnt="0"/>
      <dgm:spPr/>
    </dgm:pt>
    <dgm:pt modelId="{946E1D8A-6D56-4A8E-9690-2812E20C79B0}" type="pres">
      <dgm:prSet presAssocID="{C85E2352-98FF-4784-A036-6E73A97F5740}" presName="childNode" presStyleLbl="node1" presStyleIdx="15" presStyleCnt="16">
        <dgm:presLayoutVars>
          <dgm:bulletEnabled val="1"/>
        </dgm:presLayoutVars>
      </dgm:prSet>
      <dgm:spPr/>
    </dgm:pt>
  </dgm:ptLst>
  <dgm:cxnLst>
    <dgm:cxn modelId="{DBD5AA03-858F-46AF-94A1-B49F25AA9DCD}" type="presOf" srcId="{C85E2352-98FF-4784-A036-6E73A97F5740}" destId="{946E1D8A-6D56-4A8E-9690-2812E20C79B0}" srcOrd="0" destOrd="0" presId="urn:microsoft.com/office/officeart/2005/8/layout/lProcess2"/>
    <dgm:cxn modelId="{6A1F0107-4A19-434A-A935-3472DDB785EE}" srcId="{AE2E23BD-E513-4338-98BB-0F85005311CE}" destId="{F49B66C4-5324-4E09-BA46-1A39BC8518D3}" srcOrd="5" destOrd="0" parTransId="{24564914-F5DF-4C0A-80D7-769550E46EBC}" sibTransId="{95780041-CF4D-42C6-8195-C965719ADF7C}"/>
    <dgm:cxn modelId="{578C8209-6395-4570-8907-B86C45184D97}" srcId="{B850637D-C96A-4A45-92CD-662A1EF4A5D0}" destId="{3802456C-C34D-41B5-AE03-566C1DE88A67}" srcOrd="4" destOrd="0" parTransId="{804A1CF8-85DF-4034-A287-22FD8CE49E95}" sibTransId="{7A558896-58D8-43D4-BEBB-8FB51319CBC3}"/>
    <dgm:cxn modelId="{A6A0880A-4E06-4F56-827D-7C6E0E3CAD62}" type="presOf" srcId="{BEC47828-E30F-4C51-8634-C054B30CEA78}" destId="{6A6F0669-57B0-493C-87C5-41947BB3BC71}" srcOrd="0" destOrd="0" presId="urn:microsoft.com/office/officeart/2005/8/layout/lProcess2"/>
    <dgm:cxn modelId="{0CD6B10B-2840-4B9F-84F8-9DFB7178B092}" type="presOf" srcId="{3802456C-C34D-41B5-AE03-566C1DE88A67}" destId="{625D4F7D-3206-4B64-9401-2E3B2E33EF1A}" srcOrd="0" destOrd="0" presId="urn:microsoft.com/office/officeart/2005/8/layout/lProcess2"/>
    <dgm:cxn modelId="{1D1AB818-3550-A74F-BBF2-972E8C3D2B52}" srcId="{AE2E23BD-E513-4338-98BB-0F85005311CE}" destId="{4ED6D318-629A-3F44-8227-AF23181064A1}" srcOrd="0" destOrd="0" parTransId="{3CD8E429-AB2F-5B43-A878-3A828B755291}" sibTransId="{5A2E7203-8F04-7744-B487-5E9D60EF5785}"/>
    <dgm:cxn modelId="{CA45251A-34E1-4652-A2B5-C08BD78A287F}" type="presOf" srcId="{7A52CA84-B153-4037-8417-42ECE0EC60A1}" destId="{70710E96-8336-46C6-87C7-73A3E1CC7191}" srcOrd="0" destOrd="0" presId="urn:microsoft.com/office/officeart/2005/8/layout/lProcess2"/>
    <dgm:cxn modelId="{7EE5A530-2A6A-4D6B-94AB-3C2845460DC2}" srcId="{AE2E23BD-E513-4338-98BB-0F85005311CE}" destId="{4A417B2C-D01E-4A5C-9DC8-021B2C13129D}" srcOrd="3" destOrd="0" parTransId="{4642E998-B791-4C90-A817-02B68A9CFF1D}" sibTransId="{CEE4B2BB-9675-4F79-B131-022391AA82F3}"/>
    <dgm:cxn modelId="{6E775B38-39B8-4519-B2AD-ADBA7D313B3E}" type="presOf" srcId="{E00AED95-A3A0-4088-A7BC-E49BFB0C6E4A}" destId="{F420B201-4211-41B5-8B8D-A07329D2E300}" srcOrd="0" destOrd="0" presId="urn:microsoft.com/office/officeart/2005/8/layout/lProcess2"/>
    <dgm:cxn modelId="{549ECC3B-A5A4-452E-A7C8-ED6FCB059623}" type="presOf" srcId="{AE2E23BD-E513-4338-98BB-0F85005311CE}" destId="{E7564195-B13F-4D5F-983C-BC18B767712A}" srcOrd="0" destOrd="0" presId="urn:microsoft.com/office/officeart/2005/8/layout/lProcess2"/>
    <dgm:cxn modelId="{88129F3C-5B37-4647-B86A-DF6F2F628298}" type="presOf" srcId="{24CBEE8A-7C37-4EE2-B3AE-A1EA918F95AE}" destId="{AB5F6958-2459-4DD5-B8CA-E87497F23653}" srcOrd="0" destOrd="0" presId="urn:microsoft.com/office/officeart/2005/8/layout/lProcess2"/>
    <dgm:cxn modelId="{103A3B64-714A-4096-BDEB-FBA17217188A}" srcId="{B0D4054E-CF93-495D-8DFD-1E55BAB5A8FC}" destId="{C85E2352-98FF-4784-A036-6E73A97F5740}" srcOrd="2" destOrd="0" parTransId="{A8FBF828-D220-4DBB-AE32-3A0578BF1E8C}" sibTransId="{95541E19-D014-48BA-B690-B6A840D4AE72}"/>
    <dgm:cxn modelId="{862C0045-C20E-44DA-BE75-D61BBB9158F2}" srcId="{B850637D-C96A-4A45-92CD-662A1EF4A5D0}" destId="{B2C8B97A-6448-4491-834D-EAF9E6B58BF2}" srcOrd="3" destOrd="0" parTransId="{CAACBB6C-FFB3-404F-8376-B2A3A276C579}" sibTransId="{6563D796-A4E1-4A71-8235-25912FAA200A}"/>
    <dgm:cxn modelId="{8E3FFE49-2968-DB4B-AEA5-01D8809D1C8A}" srcId="{B850637D-C96A-4A45-92CD-662A1EF4A5D0}" destId="{AFEC3604-3345-7C4A-80AD-3A0725DCC358}" srcOrd="2" destOrd="0" parTransId="{2F01EC7B-8293-0D41-937B-0BEFD9039E77}" sibTransId="{204009EA-5EBF-5E4D-89F9-867F215D0688}"/>
    <dgm:cxn modelId="{2E40556D-E9C8-4130-812E-8B3E7232E6DE}" srcId="{AE2E23BD-E513-4338-98BB-0F85005311CE}" destId="{22C606A9-00C3-469A-A174-CAA07BB78D1C}" srcOrd="4" destOrd="0" parTransId="{074F6FB1-66F6-4451-9D85-F80AFB04B0A4}" sibTransId="{5B1F8476-8A97-4B10-8716-33AAFB8DAF86}"/>
    <dgm:cxn modelId="{6F849A71-FDDF-4C36-9A63-D6A20F620551}" type="presOf" srcId="{AE2E23BD-E513-4338-98BB-0F85005311CE}" destId="{604495C2-7E51-4785-A7E8-4A762528B412}" srcOrd="1" destOrd="0" presId="urn:microsoft.com/office/officeart/2005/8/layout/lProcess2"/>
    <dgm:cxn modelId="{E620EE52-8731-40A0-AB5E-DC12CE29C854}" srcId="{B850637D-C96A-4A45-92CD-662A1EF4A5D0}" destId="{7A52CA84-B153-4037-8417-42ECE0EC60A1}" srcOrd="1" destOrd="0" parTransId="{56ACF266-F619-4545-8197-6A65C8E17E76}" sibTransId="{00E94EDD-6D78-42A8-91F1-014B250167FC}"/>
    <dgm:cxn modelId="{2D21DA53-FA7C-4DFB-9277-6095D8F4F479}" srcId="{B0D4054E-CF93-495D-8DFD-1E55BAB5A8FC}" destId="{06B5C771-BEB0-415D-8D13-FB4599C0474B}" srcOrd="0" destOrd="0" parTransId="{41566CC4-B30D-4E07-915A-37297F8F5568}" sibTransId="{FAE909E8-BB0A-413B-B59C-354F40E00DAF}"/>
    <dgm:cxn modelId="{E96A6557-0492-44F2-9CCF-8B9D3EEAB404}" type="presOf" srcId="{F49B66C4-5324-4E09-BA46-1A39BC8518D3}" destId="{52B3ADAF-1D5E-422C-A4E3-FE394C723AF2}" srcOrd="0" destOrd="0" presId="urn:microsoft.com/office/officeart/2005/8/layout/lProcess2"/>
    <dgm:cxn modelId="{8BA3D359-5016-FC4F-A7E6-FB86419F8A1A}" srcId="{AE2E23BD-E513-4338-98BB-0F85005311CE}" destId="{BEBEEFDF-4D2A-CF48-B9EF-E3BF4EFC1F42}" srcOrd="2" destOrd="0" parTransId="{E0B83BA4-8E5A-FD48-8A00-02BEE2C02CB4}" sibTransId="{3EFC0E29-85FC-2C4C-ABD7-C14C192A0E12}"/>
    <dgm:cxn modelId="{3A318F7D-12BD-447E-8838-4F536655DDB6}" type="presOf" srcId="{06B5C771-BEB0-415D-8D13-FB4599C0474B}" destId="{CA0AC264-2BA3-4CDE-945B-BC8780486C3A}" srcOrd="0" destOrd="0" presId="urn:microsoft.com/office/officeart/2005/8/layout/lProcess2"/>
    <dgm:cxn modelId="{3030BE7F-053F-4646-8ACC-746344495C62}" type="presOf" srcId="{22C606A9-00C3-469A-A174-CAA07BB78D1C}" destId="{EC0E4679-DF4B-4839-9335-EE4E137FF4A7}" srcOrd="0" destOrd="0" presId="urn:microsoft.com/office/officeart/2005/8/layout/lProcess2"/>
    <dgm:cxn modelId="{44D24281-676A-4534-80ED-9267A2D28DCA}" type="presOf" srcId="{AFEC3604-3345-7C4A-80AD-3A0725DCC358}" destId="{3369783A-95A8-4EC8-B7E3-BB1FF0B38BDF}" srcOrd="0" destOrd="0" presId="urn:microsoft.com/office/officeart/2005/8/layout/lProcess2"/>
    <dgm:cxn modelId="{71A56085-E9B3-42CC-BD18-BB7A7FA2BAB8}" srcId="{BEC47828-E30F-4C51-8634-C054B30CEA78}" destId="{AE2E23BD-E513-4338-98BB-0F85005311CE}" srcOrd="1" destOrd="0" parTransId="{6EE18FAA-B147-430F-9CD5-6A00DE348E62}" sibTransId="{EC4D4DF6-F32A-45C8-93A4-F9F4AC8E03F9}"/>
    <dgm:cxn modelId="{618DAD91-EEFB-4897-851A-505A657032A4}" type="presOf" srcId="{B2C8B97A-6448-4491-834D-EAF9E6B58BF2}" destId="{0A573155-5BCF-4ACD-AB2F-16FE7EF4BD5D}" srcOrd="0" destOrd="0" presId="urn:microsoft.com/office/officeart/2005/8/layout/lProcess2"/>
    <dgm:cxn modelId="{A8B83497-5A2F-43F0-8A19-2956915C8CAD}" type="presOf" srcId="{BEBEEFDF-4D2A-CF48-B9EF-E3BF4EFC1F42}" destId="{2C6F2F0D-C809-46A3-B29A-D5015E30C177}" srcOrd="0" destOrd="0" presId="urn:microsoft.com/office/officeart/2005/8/layout/lProcess2"/>
    <dgm:cxn modelId="{82A2AF9D-0726-4785-BE90-53C869B665E1}" type="presOf" srcId="{A53EC3E8-7E14-4EB0-AA21-170C8A5128F5}" destId="{D48D90A8-40B9-4185-ADD4-DB4256DD7818}" srcOrd="0" destOrd="0" presId="urn:microsoft.com/office/officeart/2005/8/layout/lProcess2"/>
    <dgm:cxn modelId="{BB2DC8A9-74AE-4398-BEAF-0E38F0882D96}" type="presOf" srcId="{B850637D-C96A-4A45-92CD-662A1EF4A5D0}" destId="{A6F9B62A-9473-49AE-A152-0ACA5967AD52}" srcOrd="1" destOrd="0" presId="urn:microsoft.com/office/officeart/2005/8/layout/lProcess2"/>
    <dgm:cxn modelId="{184FDDB5-CDDC-4558-9459-0F95B9C3EDD3}" type="presOf" srcId="{B850637D-C96A-4A45-92CD-662A1EF4A5D0}" destId="{8BAE3201-9F18-4662-B3FC-03A7E2AD7B21}" srcOrd="0" destOrd="0" presId="urn:microsoft.com/office/officeart/2005/8/layout/lProcess2"/>
    <dgm:cxn modelId="{2EA620B8-FEA2-441F-A1A7-581DC92DB4E3}" type="presOf" srcId="{66875099-C05E-1C48-A5D1-E831B5CBB4AD}" destId="{622AF4A0-2B22-42B8-9B02-FD64E9B3A403}" srcOrd="0" destOrd="0" presId="urn:microsoft.com/office/officeart/2005/8/layout/lProcess2"/>
    <dgm:cxn modelId="{E9F0D1B9-5138-44E4-A3A6-85D1033925AD}" type="presOf" srcId="{B0D4054E-CF93-495D-8DFD-1E55BAB5A8FC}" destId="{8C2FD3A2-7ACB-4A64-8EE5-648C6F200288}" srcOrd="1" destOrd="0" presId="urn:microsoft.com/office/officeart/2005/8/layout/lProcess2"/>
    <dgm:cxn modelId="{2F90E2BC-F797-431D-8A87-25E304EF6E31}" type="presOf" srcId="{4ED6D318-629A-3F44-8227-AF23181064A1}" destId="{93FE7F8B-D97A-4D05-A29F-28CECBC04D06}" srcOrd="0" destOrd="0" presId="urn:microsoft.com/office/officeart/2005/8/layout/lProcess2"/>
    <dgm:cxn modelId="{81A248BF-5F42-4945-894F-CAF4B9FB5E46}" type="presOf" srcId="{B0D4054E-CF93-495D-8DFD-1E55BAB5A8FC}" destId="{CDE36B7A-A8A1-4FAE-B981-22EC07E4F40C}" srcOrd="0" destOrd="0" presId="urn:microsoft.com/office/officeart/2005/8/layout/lProcess2"/>
    <dgm:cxn modelId="{90BA91C6-E367-CD4B-9964-F061F5AE37AC}" srcId="{AE2E23BD-E513-4338-98BB-0F85005311CE}" destId="{66875099-C05E-1C48-A5D1-E831B5CBB4AD}" srcOrd="1" destOrd="0" parTransId="{ADFAB633-9351-C84D-97CC-CCF0C35E2019}" sibTransId="{5ED75014-7793-5C44-B375-E5C6A1806C9F}"/>
    <dgm:cxn modelId="{3A9F60CE-AE8A-42F5-8C66-83527A63B9EB}" srcId="{B850637D-C96A-4A45-92CD-662A1EF4A5D0}" destId="{A53EC3E8-7E14-4EB0-AA21-170C8A5128F5}" srcOrd="5" destOrd="0" parTransId="{DD380D48-B9A9-41CC-A360-DE8FFF7FC853}" sibTransId="{E27B79C3-8A9F-4083-8B2E-93E97E91F3F5}"/>
    <dgm:cxn modelId="{C34810D3-2D4B-4946-B56D-C63E4069CB2A}" srcId="{BEC47828-E30F-4C51-8634-C054B30CEA78}" destId="{B0D4054E-CF93-495D-8DFD-1E55BAB5A8FC}" srcOrd="2" destOrd="0" parTransId="{BFCE4052-0185-4F4B-ACAD-70311F4697CB}" sibTransId="{E2ED9F0A-1A63-4592-95E2-B8455B90229B}"/>
    <dgm:cxn modelId="{F1EA7ED8-50E2-4241-A9DE-F7B4BABE2A19}" srcId="{B0D4054E-CF93-495D-8DFD-1E55BAB5A8FC}" destId="{E63669A3-7A75-4D55-B685-27E021D54474}" srcOrd="1" destOrd="0" parTransId="{D81A9140-AA4E-4AB7-9341-DB54B85431B6}" sibTransId="{64DBD494-AABA-4B5B-B670-C9D998939D45}"/>
    <dgm:cxn modelId="{6065FBDE-04A8-4681-9BFA-60A1AE3DE4EF}" srcId="{AE2E23BD-E513-4338-98BB-0F85005311CE}" destId="{E00AED95-A3A0-4088-A7BC-E49BFB0C6E4A}" srcOrd="6" destOrd="0" parTransId="{D47F1C45-4B5B-445A-AC20-29E9313805E6}" sibTransId="{F6DEC682-34E6-42C6-94CA-FDF2FB08F1B2}"/>
    <dgm:cxn modelId="{AB5E92E5-D268-4AB5-9E61-25E993F1F53E}" srcId="{BEC47828-E30F-4C51-8634-C054B30CEA78}" destId="{B850637D-C96A-4A45-92CD-662A1EF4A5D0}" srcOrd="0" destOrd="0" parTransId="{8CBC5787-AC99-4CBB-8A5D-8FAC6D60D032}" sibTransId="{C478C22C-34A4-4772-AC9E-8CFC657F5562}"/>
    <dgm:cxn modelId="{A45FC6E6-F871-46C4-8D4C-478CB769731C}" srcId="{B850637D-C96A-4A45-92CD-662A1EF4A5D0}" destId="{24CBEE8A-7C37-4EE2-B3AE-A1EA918F95AE}" srcOrd="0" destOrd="0" parTransId="{AE9A6E51-FA3F-4CA8-8575-5BAF51F88C45}" sibTransId="{7744026B-29CE-4F8F-BCC5-EB6A9A4FBF00}"/>
    <dgm:cxn modelId="{5CDCB2F1-3DA8-4C1E-A277-D54C163F519C}" type="presOf" srcId="{E63669A3-7A75-4D55-B685-27E021D54474}" destId="{7CFBA7B4-9CC5-40DE-B794-0DBEA51274B9}" srcOrd="0" destOrd="0" presId="urn:microsoft.com/office/officeart/2005/8/layout/lProcess2"/>
    <dgm:cxn modelId="{001D5BFC-EB65-4070-981B-8C6264F404C9}" type="presOf" srcId="{4A417B2C-D01E-4A5C-9DC8-021B2C13129D}" destId="{72723580-1BB1-44BA-B3E5-DE9414412DA5}" srcOrd="0" destOrd="0" presId="urn:microsoft.com/office/officeart/2005/8/layout/lProcess2"/>
    <dgm:cxn modelId="{0B4D217D-2FAE-47F6-BCC7-D35FF40243AC}" type="presParOf" srcId="{6A6F0669-57B0-493C-87C5-41947BB3BC71}" destId="{0C342E07-A45F-4905-B4E2-61220150C3C0}" srcOrd="0" destOrd="0" presId="urn:microsoft.com/office/officeart/2005/8/layout/lProcess2"/>
    <dgm:cxn modelId="{28F2ED9F-B670-4F1C-A53C-F49BD1129B25}" type="presParOf" srcId="{0C342E07-A45F-4905-B4E2-61220150C3C0}" destId="{8BAE3201-9F18-4662-B3FC-03A7E2AD7B21}" srcOrd="0" destOrd="0" presId="urn:microsoft.com/office/officeart/2005/8/layout/lProcess2"/>
    <dgm:cxn modelId="{2E2A5EA7-45F8-4F26-B2F9-B6963434A222}" type="presParOf" srcId="{0C342E07-A45F-4905-B4E2-61220150C3C0}" destId="{A6F9B62A-9473-49AE-A152-0ACA5967AD52}" srcOrd="1" destOrd="0" presId="urn:microsoft.com/office/officeart/2005/8/layout/lProcess2"/>
    <dgm:cxn modelId="{6B84DAA7-2933-4EA0-B8B8-2665B8DDE119}" type="presParOf" srcId="{0C342E07-A45F-4905-B4E2-61220150C3C0}" destId="{8FFC643B-F670-44B1-8594-9A7AAECD7454}" srcOrd="2" destOrd="0" presId="urn:microsoft.com/office/officeart/2005/8/layout/lProcess2"/>
    <dgm:cxn modelId="{404B38C0-EFA1-4AAB-B3FB-3792DDBD4645}" type="presParOf" srcId="{8FFC643B-F670-44B1-8594-9A7AAECD7454}" destId="{83CD7093-ABED-4D8E-9BA2-38300B2C02A3}" srcOrd="0" destOrd="0" presId="urn:microsoft.com/office/officeart/2005/8/layout/lProcess2"/>
    <dgm:cxn modelId="{36857BDC-29CC-453D-B654-B213552E746F}" type="presParOf" srcId="{83CD7093-ABED-4D8E-9BA2-38300B2C02A3}" destId="{AB5F6958-2459-4DD5-B8CA-E87497F23653}" srcOrd="0" destOrd="0" presId="urn:microsoft.com/office/officeart/2005/8/layout/lProcess2"/>
    <dgm:cxn modelId="{3FC0BF57-5D8F-4E36-8D89-90A73265480B}" type="presParOf" srcId="{83CD7093-ABED-4D8E-9BA2-38300B2C02A3}" destId="{32020D3F-FE33-4642-AF3D-FF3F1E39A82C}" srcOrd="1" destOrd="0" presId="urn:microsoft.com/office/officeart/2005/8/layout/lProcess2"/>
    <dgm:cxn modelId="{F3B0C628-FC7E-4CDA-9015-BE2E3C3EAD61}" type="presParOf" srcId="{83CD7093-ABED-4D8E-9BA2-38300B2C02A3}" destId="{70710E96-8336-46C6-87C7-73A3E1CC7191}" srcOrd="2" destOrd="0" presId="urn:microsoft.com/office/officeart/2005/8/layout/lProcess2"/>
    <dgm:cxn modelId="{0C1025E9-B193-4FF2-8649-C94BF03D3947}" type="presParOf" srcId="{83CD7093-ABED-4D8E-9BA2-38300B2C02A3}" destId="{7C928F39-E5BF-4790-ACEA-F2EB03D36F69}" srcOrd="3" destOrd="0" presId="urn:microsoft.com/office/officeart/2005/8/layout/lProcess2"/>
    <dgm:cxn modelId="{846A30B8-D19B-4A66-8BEF-486FC5A1AC57}" type="presParOf" srcId="{83CD7093-ABED-4D8E-9BA2-38300B2C02A3}" destId="{3369783A-95A8-4EC8-B7E3-BB1FF0B38BDF}" srcOrd="4" destOrd="0" presId="urn:microsoft.com/office/officeart/2005/8/layout/lProcess2"/>
    <dgm:cxn modelId="{A62FE6AA-7F78-4D99-814D-C693780F4931}" type="presParOf" srcId="{83CD7093-ABED-4D8E-9BA2-38300B2C02A3}" destId="{1530397E-5B28-440D-AB65-FF80139D0CF7}" srcOrd="5" destOrd="0" presId="urn:microsoft.com/office/officeart/2005/8/layout/lProcess2"/>
    <dgm:cxn modelId="{564025AB-82AD-4FAF-892E-0DE46D496911}" type="presParOf" srcId="{83CD7093-ABED-4D8E-9BA2-38300B2C02A3}" destId="{0A573155-5BCF-4ACD-AB2F-16FE7EF4BD5D}" srcOrd="6" destOrd="0" presId="urn:microsoft.com/office/officeart/2005/8/layout/lProcess2"/>
    <dgm:cxn modelId="{FD077601-7085-47F1-9E31-EDDF260E2CF8}" type="presParOf" srcId="{83CD7093-ABED-4D8E-9BA2-38300B2C02A3}" destId="{4020B8F1-3508-4904-B57C-85F0F6C3CE33}" srcOrd="7" destOrd="0" presId="urn:microsoft.com/office/officeart/2005/8/layout/lProcess2"/>
    <dgm:cxn modelId="{EBB89921-201F-472C-BE82-320E2E147845}" type="presParOf" srcId="{83CD7093-ABED-4D8E-9BA2-38300B2C02A3}" destId="{625D4F7D-3206-4B64-9401-2E3B2E33EF1A}" srcOrd="8" destOrd="0" presId="urn:microsoft.com/office/officeart/2005/8/layout/lProcess2"/>
    <dgm:cxn modelId="{676FE891-E957-49A9-BCA1-9D94841CFCB3}" type="presParOf" srcId="{83CD7093-ABED-4D8E-9BA2-38300B2C02A3}" destId="{6CCF8BE3-A26A-4638-BE33-8A1C22AAC48F}" srcOrd="9" destOrd="0" presId="urn:microsoft.com/office/officeart/2005/8/layout/lProcess2"/>
    <dgm:cxn modelId="{26D36C6E-6918-4E5C-B025-D59B0885B149}" type="presParOf" srcId="{83CD7093-ABED-4D8E-9BA2-38300B2C02A3}" destId="{D48D90A8-40B9-4185-ADD4-DB4256DD7818}" srcOrd="10" destOrd="0" presId="urn:microsoft.com/office/officeart/2005/8/layout/lProcess2"/>
    <dgm:cxn modelId="{44814F49-1951-420E-9B19-31B0BDB2D50D}" type="presParOf" srcId="{6A6F0669-57B0-493C-87C5-41947BB3BC71}" destId="{91E6AEA2-BB7A-44A6-985A-C8345D0EC003}" srcOrd="1" destOrd="0" presId="urn:microsoft.com/office/officeart/2005/8/layout/lProcess2"/>
    <dgm:cxn modelId="{41EDA0EB-16CF-4E59-8029-00A0B64DE63E}" type="presParOf" srcId="{6A6F0669-57B0-493C-87C5-41947BB3BC71}" destId="{A37DFE0A-77C5-4F92-8CC7-5FACB4CA7DB7}" srcOrd="2" destOrd="0" presId="urn:microsoft.com/office/officeart/2005/8/layout/lProcess2"/>
    <dgm:cxn modelId="{D34A8258-EEA2-4D15-9106-B2E80723C7DA}" type="presParOf" srcId="{A37DFE0A-77C5-4F92-8CC7-5FACB4CA7DB7}" destId="{E7564195-B13F-4D5F-983C-BC18B767712A}" srcOrd="0" destOrd="0" presId="urn:microsoft.com/office/officeart/2005/8/layout/lProcess2"/>
    <dgm:cxn modelId="{76A5D5C2-CD73-49DB-A22C-ACE180BAB019}" type="presParOf" srcId="{A37DFE0A-77C5-4F92-8CC7-5FACB4CA7DB7}" destId="{604495C2-7E51-4785-A7E8-4A762528B412}" srcOrd="1" destOrd="0" presId="urn:microsoft.com/office/officeart/2005/8/layout/lProcess2"/>
    <dgm:cxn modelId="{A894A409-9424-42AC-8C70-68A395D727F4}" type="presParOf" srcId="{A37DFE0A-77C5-4F92-8CC7-5FACB4CA7DB7}" destId="{BC65F0DC-6069-42CC-9973-80501EED0DAD}" srcOrd="2" destOrd="0" presId="urn:microsoft.com/office/officeart/2005/8/layout/lProcess2"/>
    <dgm:cxn modelId="{2EBB1198-6805-4DFD-A2B4-E53A49033FA2}" type="presParOf" srcId="{BC65F0DC-6069-42CC-9973-80501EED0DAD}" destId="{4BB341F7-E41A-4E60-8C8E-9806514DF238}" srcOrd="0" destOrd="0" presId="urn:microsoft.com/office/officeart/2005/8/layout/lProcess2"/>
    <dgm:cxn modelId="{6B406D12-C8F0-41EC-AC17-AC70B1CCD841}" type="presParOf" srcId="{4BB341F7-E41A-4E60-8C8E-9806514DF238}" destId="{93FE7F8B-D97A-4D05-A29F-28CECBC04D06}" srcOrd="0" destOrd="0" presId="urn:microsoft.com/office/officeart/2005/8/layout/lProcess2"/>
    <dgm:cxn modelId="{E37DD39B-940B-4CAA-B0EE-2F37AAD06BEE}" type="presParOf" srcId="{4BB341F7-E41A-4E60-8C8E-9806514DF238}" destId="{4AB2E473-3E97-4C0C-BD0A-A2B454232DA2}" srcOrd="1" destOrd="0" presId="urn:microsoft.com/office/officeart/2005/8/layout/lProcess2"/>
    <dgm:cxn modelId="{68610F4B-9BD7-4C1E-A486-AAABE9CF07B5}" type="presParOf" srcId="{4BB341F7-E41A-4E60-8C8E-9806514DF238}" destId="{622AF4A0-2B22-42B8-9B02-FD64E9B3A403}" srcOrd="2" destOrd="0" presId="urn:microsoft.com/office/officeart/2005/8/layout/lProcess2"/>
    <dgm:cxn modelId="{42183944-30AF-488C-8B6C-74EA828AB4D8}" type="presParOf" srcId="{4BB341F7-E41A-4E60-8C8E-9806514DF238}" destId="{503C33EC-4FC8-4D33-924A-99D662442C33}" srcOrd="3" destOrd="0" presId="urn:microsoft.com/office/officeart/2005/8/layout/lProcess2"/>
    <dgm:cxn modelId="{AA248153-E919-4F79-8AA3-8804F52511BC}" type="presParOf" srcId="{4BB341F7-E41A-4E60-8C8E-9806514DF238}" destId="{2C6F2F0D-C809-46A3-B29A-D5015E30C177}" srcOrd="4" destOrd="0" presId="urn:microsoft.com/office/officeart/2005/8/layout/lProcess2"/>
    <dgm:cxn modelId="{CFDED249-6437-4E8A-BB73-D728357AA4EA}" type="presParOf" srcId="{4BB341F7-E41A-4E60-8C8E-9806514DF238}" destId="{D3DF318E-F2F6-4BEC-B488-2AC38EEE95BE}" srcOrd="5" destOrd="0" presId="urn:microsoft.com/office/officeart/2005/8/layout/lProcess2"/>
    <dgm:cxn modelId="{670A7693-9A87-4538-9849-5EEB15B60F63}" type="presParOf" srcId="{4BB341F7-E41A-4E60-8C8E-9806514DF238}" destId="{72723580-1BB1-44BA-B3E5-DE9414412DA5}" srcOrd="6" destOrd="0" presId="urn:microsoft.com/office/officeart/2005/8/layout/lProcess2"/>
    <dgm:cxn modelId="{542DC161-5BB0-4476-8589-CCC04AA67266}" type="presParOf" srcId="{4BB341F7-E41A-4E60-8C8E-9806514DF238}" destId="{32B2ECBA-96FE-4644-9241-F5509E03545F}" srcOrd="7" destOrd="0" presId="urn:microsoft.com/office/officeart/2005/8/layout/lProcess2"/>
    <dgm:cxn modelId="{CCE74426-91C6-4E3B-8AB5-EFB7DFAAE24E}" type="presParOf" srcId="{4BB341F7-E41A-4E60-8C8E-9806514DF238}" destId="{EC0E4679-DF4B-4839-9335-EE4E137FF4A7}" srcOrd="8" destOrd="0" presId="urn:microsoft.com/office/officeart/2005/8/layout/lProcess2"/>
    <dgm:cxn modelId="{18949A70-8AA6-4320-862D-F2FD183CE165}" type="presParOf" srcId="{4BB341F7-E41A-4E60-8C8E-9806514DF238}" destId="{0BA27C2B-6D65-4E6A-89F0-C9AB4CEE53DE}" srcOrd="9" destOrd="0" presId="urn:microsoft.com/office/officeart/2005/8/layout/lProcess2"/>
    <dgm:cxn modelId="{40DADC91-C439-40A9-BBEF-E7E12E449364}" type="presParOf" srcId="{4BB341F7-E41A-4E60-8C8E-9806514DF238}" destId="{52B3ADAF-1D5E-422C-A4E3-FE394C723AF2}" srcOrd="10" destOrd="0" presId="urn:microsoft.com/office/officeart/2005/8/layout/lProcess2"/>
    <dgm:cxn modelId="{58F046FF-2561-4927-8E3E-E0388689B13B}" type="presParOf" srcId="{4BB341F7-E41A-4E60-8C8E-9806514DF238}" destId="{50C021E1-33B5-4CDF-B31B-265244FFEC08}" srcOrd="11" destOrd="0" presId="urn:microsoft.com/office/officeart/2005/8/layout/lProcess2"/>
    <dgm:cxn modelId="{577C7E77-2A5B-4EB2-90C8-6D4B4B84A205}" type="presParOf" srcId="{4BB341F7-E41A-4E60-8C8E-9806514DF238}" destId="{F420B201-4211-41B5-8B8D-A07329D2E300}" srcOrd="12" destOrd="0" presId="urn:microsoft.com/office/officeart/2005/8/layout/lProcess2"/>
    <dgm:cxn modelId="{4E7D7808-A354-4AFB-8885-ED3CCE37E393}" type="presParOf" srcId="{6A6F0669-57B0-493C-87C5-41947BB3BC71}" destId="{37341531-BA4C-4666-98ED-D60132C7747A}" srcOrd="3" destOrd="0" presId="urn:microsoft.com/office/officeart/2005/8/layout/lProcess2"/>
    <dgm:cxn modelId="{4E32DFD8-DAA2-4A80-BC3B-B2EC1D3D52EC}" type="presParOf" srcId="{6A6F0669-57B0-493C-87C5-41947BB3BC71}" destId="{2748D7EA-DF39-4F54-A6C8-4D6EC986BD34}" srcOrd="4" destOrd="0" presId="urn:microsoft.com/office/officeart/2005/8/layout/lProcess2"/>
    <dgm:cxn modelId="{87621C5C-C693-4CCE-8E72-767D8C0AFFF3}" type="presParOf" srcId="{2748D7EA-DF39-4F54-A6C8-4D6EC986BD34}" destId="{CDE36B7A-A8A1-4FAE-B981-22EC07E4F40C}" srcOrd="0" destOrd="0" presId="urn:microsoft.com/office/officeart/2005/8/layout/lProcess2"/>
    <dgm:cxn modelId="{EDB0F9C5-EFFA-4BFC-8626-DE262E4A15C3}" type="presParOf" srcId="{2748D7EA-DF39-4F54-A6C8-4D6EC986BD34}" destId="{8C2FD3A2-7ACB-4A64-8EE5-648C6F200288}" srcOrd="1" destOrd="0" presId="urn:microsoft.com/office/officeart/2005/8/layout/lProcess2"/>
    <dgm:cxn modelId="{43824651-AC26-4078-A231-47F03D9F2372}" type="presParOf" srcId="{2748D7EA-DF39-4F54-A6C8-4D6EC986BD34}" destId="{A65559A5-3E8E-4F24-9EFF-D3BB9E4816FA}" srcOrd="2" destOrd="0" presId="urn:microsoft.com/office/officeart/2005/8/layout/lProcess2"/>
    <dgm:cxn modelId="{2F8F9B64-BE3F-44C3-A81D-FC3A3155ACFB}" type="presParOf" srcId="{A65559A5-3E8E-4F24-9EFF-D3BB9E4816FA}" destId="{64F7F4DC-B6EA-4AF1-BE41-6EF344247866}" srcOrd="0" destOrd="0" presId="urn:microsoft.com/office/officeart/2005/8/layout/lProcess2"/>
    <dgm:cxn modelId="{F6551484-D9CA-4C5A-8430-C5FFF7C46BC7}" type="presParOf" srcId="{64F7F4DC-B6EA-4AF1-BE41-6EF344247866}" destId="{CA0AC264-2BA3-4CDE-945B-BC8780486C3A}" srcOrd="0" destOrd="0" presId="urn:microsoft.com/office/officeart/2005/8/layout/lProcess2"/>
    <dgm:cxn modelId="{F1593D70-1F1B-4C3E-8F9E-B29CACE006F6}" type="presParOf" srcId="{64F7F4DC-B6EA-4AF1-BE41-6EF344247866}" destId="{28D1A6A5-5F66-476A-9C39-2F4922BC949A}" srcOrd="1" destOrd="0" presId="urn:microsoft.com/office/officeart/2005/8/layout/lProcess2"/>
    <dgm:cxn modelId="{772949C4-7F3C-43BD-A0D1-13DB60F62489}" type="presParOf" srcId="{64F7F4DC-B6EA-4AF1-BE41-6EF344247866}" destId="{7CFBA7B4-9CC5-40DE-B794-0DBEA51274B9}" srcOrd="2" destOrd="0" presId="urn:microsoft.com/office/officeart/2005/8/layout/lProcess2"/>
    <dgm:cxn modelId="{E8FCCF06-DAE3-4872-8225-40849525E7AD}" type="presParOf" srcId="{64F7F4DC-B6EA-4AF1-BE41-6EF344247866}" destId="{CF376806-F707-494B-9845-A071B465DB8D}" srcOrd="3" destOrd="0" presId="urn:microsoft.com/office/officeart/2005/8/layout/lProcess2"/>
    <dgm:cxn modelId="{E9ECF80B-92E6-4B96-B479-46BA5C78DA25}" type="presParOf" srcId="{64F7F4DC-B6EA-4AF1-BE41-6EF344247866}" destId="{946E1D8A-6D56-4A8E-9690-2812E20C79B0}" srcOrd="4" destOrd="0" presId="urn:microsoft.com/office/officeart/2005/8/layout/lProcess2"/>
  </dgm:cxnLst>
  <dgm:bg/>
  <dgm:whole>
    <a:ln w="19050"/>
  </dgm:whole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70422BEA-56E1-4E9C-9C8C-12579C83A52B}" type="doc">
      <dgm:prSet loTypeId="urn:microsoft.com/office/officeart/2005/8/layout/pyramid1" loCatId="pyramid" qsTypeId="urn:microsoft.com/office/officeart/2005/8/quickstyle/3d3" qsCatId="3D" csTypeId="urn:microsoft.com/office/officeart/2005/8/colors/accent1_2" csCatId="accent1" phldr="1"/>
      <dgm:spPr/>
      <dgm:t>
        <a:bodyPr/>
        <a:lstStyle/>
        <a:p>
          <a:endParaRPr lang="cs-CZ"/>
        </a:p>
      </dgm:t>
    </dgm:pt>
    <dgm:pt modelId="{A3668552-D1CE-4320-9249-EFDEB7077AF6}">
      <dgm:prSet phldrT="[Text]" custT="1"/>
      <dgm:spPr/>
      <dgm:t>
        <a:bodyPr/>
        <a:lstStyle/>
        <a:p>
          <a:r>
            <a:rPr lang="cs-CZ" sz="1200" b="1" dirty="0">
              <a:solidFill>
                <a:schemeClr val="tx2"/>
              </a:solidFill>
              <a:latin typeface="+mn-lt"/>
            </a:rPr>
            <a:t>Zajištění minimální bezpečnosti</a:t>
          </a:r>
        </a:p>
      </dgm:t>
    </dgm:pt>
    <dgm:pt modelId="{CD6AD2B5-67C6-49ED-80DE-09DC1F9E40E2}" type="parTrans" cxnId="{A8F755DF-58E8-4020-9C9B-5E25CB08F645}">
      <dgm:prSet/>
      <dgm:spPr/>
      <dgm:t>
        <a:bodyPr/>
        <a:lstStyle/>
        <a:p>
          <a:endParaRPr lang="cs-CZ" sz="1200">
            <a:solidFill>
              <a:schemeClr val="tx2"/>
            </a:solidFill>
          </a:endParaRPr>
        </a:p>
      </dgm:t>
    </dgm:pt>
    <dgm:pt modelId="{1447571F-0EB0-425A-96EC-3B4C323BAD9A}" type="sibTrans" cxnId="{A8F755DF-58E8-4020-9C9B-5E25CB08F645}">
      <dgm:prSet/>
      <dgm:spPr/>
      <dgm:t>
        <a:bodyPr/>
        <a:lstStyle/>
        <a:p>
          <a:endParaRPr lang="cs-CZ" sz="1200">
            <a:solidFill>
              <a:schemeClr val="tx2"/>
            </a:solidFill>
          </a:endParaRPr>
        </a:p>
      </dgm:t>
    </dgm:pt>
    <dgm:pt modelId="{3037B814-8944-4D29-A21A-9E85542B91DC}">
      <dgm:prSet phldrT="[Text]" custT="1"/>
      <dgm:spPr/>
      <dgm:t>
        <a:bodyPr/>
        <a:lstStyle/>
        <a:p>
          <a:r>
            <a:rPr lang="cs-CZ" sz="1200" b="1" dirty="0">
              <a:solidFill>
                <a:schemeClr val="tx2"/>
              </a:solidFill>
              <a:latin typeface="+mn-lt"/>
            </a:rPr>
            <a:t>Identifikace rizik (co mi hrozí a jak tomu zabráním )</a:t>
          </a:r>
        </a:p>
      </dgm:t>
    </dgm:pt>
    <dgm:pt modelId="{9B9AD0B2-0686-4ABE-BAC4-27C8AA940CB6}" type="parTrans" cxnId="{5F2F28BF-EC01-49CF-85E0-A5BC2B768DDD}">
      <dgm:prSet/>
      <dgm:spPr/>
      <dgm:t>
        <a:bodyPr/>
        <a:lstStyle/>
        <a:p>
          <a:endParaRPr lang="cs-CZ" sz="1200">
            <a:solidFill>
              <a:schemeClr val="tx2"/>
            </a:solidFill>
          </a:endParaRPr>
        </a:p>
      </dgm:t>
    </dgm:pt>
    <dgm:pt modelId="{8C96A2DA-A676-473A-9C46-385DB1F96A66}" type="sibTrans" cxnId="{5F2F28BF-EC01-49CF-85E0-A5BC2B768DDD}">
      <dgm:prSet/>
      <dgm:spPr/>
      <dgm:t>
        <a:bodyPr/>
        <a:lstStyle/>
        <a:p>
          <a:endParaRPr lang="cs-CZ" sz="1200">
            <a:solidFill>
              <a:schemeClr val="tx2"/>
            </a:solidFill>
          </a:endParaRPr>
        </a:p>
      </dgm:t>
    </dgm:pt>
    <dgm:pt modelId="{ED6B6941-AD5C-4C37-8FC9-CF6956F3176A}">
      <dgm:prSet phldrT="[Text]" custT="1"/>
      <dgm:spPr/>
      <dgm:t>
        <a:bodyPr/>
        <a:lstStyle/>
        <a:p>
          <a:r>
            <a:rPr lang="cs-CZ" sz="1200" b="1" dirty="0">
              <a:solidFill>
                <a:schemeClr val="tx2"/>
              </a:solidFill>
              <a:latin typeface="+mn-lt"/>
            </a:rPr>
            <a:t>Identifikace aktiv  (co mám co je důležité pro provoz služby )</a:t>
          </a:r>
        </a:p>
      </dgm:t>
    </dgm:pt>
    <dgm:pt modelId="{FA16ED49-8958-48B0-A346-1FA9BBDDA6D9}" type="parTrans" cxnId="{B3613402-0141-4C13-8414-5FA96DBE7A05}">
      <dgm:prSet/>
      <dgm:spPr/>
      <dgm:t>
        <a:bodyPr/>
        <a:lstStyle/>
        <a:p>
          <a:endParaRPr lang="cs-CZ" sz="1200">
            <a:solidFill>
              <a:schemeClr val="tx2"/>
            </a:solidFill>
          </a:endParaRPr>
        </a:p>
      </dgm:t>
    </dgm:pt>
    <dgm:pt modelId="{3CF9F69A-3C71-44F0-8C4B-05745AA7679B}" type="sibTrans" cxnId="{B3613402-0141-4C13-8414-5FA96DBE7A05}">
      <dgm:prSet/>
      <dgm:spPr/>
      <dgm:t>
        <a:bodyPr/>
        <a:lstStyle/>
        <a:p>
          <a:endParaRPr lang="cs-CZ" sz="1200">
            <a:solidFill>
              <a:schemeClr val="tx2"/>
            </a:solidFill>
          </a:endParaRPr>
        </a:p>
      </dgm:t>
    </dgm:pt>
    <dgm:pt modelId="{8C14B61F-DEF0-4DFF-BF22-15CE1AF8E724}">
      <dgm:prSet custT="1"/>
      <dgm:spPr/>
      <dgm:t>
        <a:bodyPr/>
        <a:lstStyle/>
        <a:p>
          <a:r>
            <a:rPr lang="cs-CZ" sz="1200" b="1" dirty="0">
              <a:solidFill>
                <a:schemeClr val="tx2"/>
              </a:solidFill>
              <a:latin typeface="+mn-lt"/>
            </a:rPr>
            <a:t>Bezpečnostní politika (povinnosti a práva uživatelů, administrátorů a vedeni společnosti)</a:t>
          </a:r>
        </a:p>
      </dgm:t>
    </dgm:pt>
    <dgm:pt modelId="{2E252F28-81E8-4F92-BFED-AB6ABBA0B894}" type="parTrans" cxnId="{36BA17E8-782B-4D0C-8E60-84BC5E789049}">
      <dgm:prSet/>
      <dgm:spPr/>
      <dgm:t>
        <a:bodyPr/>
        <a:lstStyle/>
        <a:p>
          <a:endParaRPr lang="cs-CZ" sz="1200">
            <a:solidFill>
              <a:schemeClr val="tx2"/>
            </a:solidFill>
          </a:endParaRPr>
        </a:p>
      </dgm:t>
    </dgm:pt>
    <dgm:pt modelId="{50544993-3F7D-4BC2-BBA9-729906CC5C2A}" type="sibTrans" cxnId="{36BA17E8-782B-4D0C-8E60-84BC5E789049}">
      <dgm:prSet/>
      <dgm:spPr/>
      <dgm:t>
        <a:bodyPr/>
        <a:lstStyle/>
        <a:p>
          <a:endParaRPr lang="cs-CZ" sz="1200">
            <a:solidFill>
              <a:schemeClr val="tx2"/>
            </a:solidFill>
          </a:endParaRPr>
        </a:p>
      </dgm:t>
    </dgm:pt>
    <dgm:pt modelId="{FD61E3DE-0128-4705-84AB-B015871BB225}">
      <dgm:prSet custT="1"/>
      <dgm:spPr/>
      <dgm:t>
        <a:bodyPr/>
        <a:lstStyle/>
        <a:p>
          <a:r>
            <a:rPr lang="cs-CZ" sz="1200" b="1" dirty="0">
              <a:solidFill>
                <a:schemeClr val="tx2"/>
              </a:solidFill>
              <a:latin typeface="+mn-lt"/>
            </a:rPr>
            <a:t>Odpovědnost vedení  (školení, zajištění zdrojů + prokazatelnost)</a:t>
          </a:r>
        </a:p>
      </dgm:t>
    </dgm:pt>
    <dgm:pt modelId="{E7333F9B-D6B8-4970-A1B1-19358E02CD11}" type="parTrans" cxnId="{706EAABE-81EF-4F4E-B258-D7F1055669EA}">
      <dgm:prSet/>
      <dgm:spPr/>
      <dgm:t>
        <a:bodyPr/>
        <a:lstStyle/>
        <a:p>
          <a:endParaRPr lang="cs-CZ" sz="1200">
            <a:solidFill>
              <a:schemeClr val="tx2"/>
            </a:solidFill>
          </a:endParaRPr>
        </a:p>
      </dgm:t>
    </dgm:pt>
    <dgm:pt modelId="{596E3D89-EBDB-4DCE-93C9-07B89A674D70}" type="sibTrans" cxnId="{706EAABE-81EF-4F4E-B258-D7F1055669EA}">
      <dgm:prSet/>
      <dgm:spPr/>
      <dgm:t>
        <a:bodyPr/>
        <a:lstStyle/>
        <a:p>
          <a:endParaRPr lang="cs-CZ" sz="1200">
            <a:solidFill>
              <a:schemeClr val="tx2"/>
            </a:solidFill>
          </a:endParaRPr>
        </a:p>
      </dgm:t>
    </dgm:pt>
    <dgm:pt modelId="{F6C47437-9C37-4A7F-B4DF-EBDEC1434CD1}">
      <dgm:prSet custT="1"/>
      <dgm:spPr/>
      <dgm:t>
        <a:bodyPr/>
        <a:lstStyle/>
        <a:p>
          <a:r>
            <a:rPr lang="cs-CZ" sz="1200" b="1" dirty="0">
              <a:solidFill>
                <a:schemeClr val="tx2"/>
              </a:solidFill>
              <a:latin typeface="+mn-lt"/>
            </a:rPr>
            <a:t>Kontinuita a incidenty (postupy obnovy, odpovědnosti, zálohování a jejich plány, incident management)</a:t>
          </a:r>
        </a:p>
      </dgm:t>
    </dgm:pt>
    <dgm:pt modelId="{90FF7BD9-773D-42FE-9037-CCF1302A3EEF}" type="parTrans" cxnId="{80C1E53C-9B46-4A6E-BD1D-2FB7F8000EC2}">
      <dgm:prSet/>
      <dgm:spPr/>
      <dgm:t>
        <a:bodyPr/>
        <a:lstStyle/>
        <a:p>
          <a:endParaRPr lang="cs-CZ" sz="1200">
            <a:solidFill>
              <a:schemeClr val="tx2"/>
            </a:solidFill>
          </a:endParaRPr>
        </a:p>
      </dgm:t>
    </dgm:pt>
    <dgm:pt modelId="{55B3C2F5-CC61-498D-AC2E-761B46AFE1D5}" type="sibTrans" cxnId="{80C1E53C-9B46-4A6E-BD1D-2FB7F8000EC2}">
      <dgm:prSet/>
      <dgm:spPr/>
      <dgm:t>
        <a:bodyPr/>
        <a:lstStyle/>
        <a:p>
          <a:endParaRPr lang="cs-CZ" sz="1200">
            <a:solidFill>
              <a:schemeClr val="tx2"/>
            </a:solidFill>
          </a:endParaRPr>
        </a:p>
      </dgm:t>
    </dgm:pt>
    <dgm:pt modelId="{088A1E1D-A095-46A8-B695-D6DEA9C58EF8}" type="pres">
      <dgm:prSet presAssocID="{70422BEA-56E1-4E9C-9C8C-12579C83A52B}" presName="Name0" presStyleCnt="0">
        <dgm:presLayoutVars>
          <dgm:dir/>
          <dgm:animLvl val="lvl"/>
          <dgm:resizeHandles val="exact"/>
        </dgm:presLayoutVars>
      </dgm:prSet>
      <dgm:spPr/>
    </dgm:pt>
    <dgm:pt modelId="{2109CA09-FB32-49F6-8368-D5F05085C29C}" type="pres">
      <dgm:prSet presAssocID="{A3668552-D1CE-4320-9249-EFDEB7077AF6}" presName="Name8" presStyleCnt="0"/>
      <dgm:spPr/>
    </dgm:pt>
    <dgm:pt modelId="{01702801-A791-4BC8-933A-5BE4B53E6834}" type="pres">
      <dgm:prSet presAssocID="{A3668552-D1CE-4320-9249-EFDEB7077AF6}" presName="level" presStyleLbl="node1" presStyleIdx="0" presStyleCnt="6" custScaleX="94075">
        <dgm:presLayoutVars>
          <dgm:chMax val="1"/>
          <dgm:bulletEnabled val="1"/>
        </dgm:presLayoutVars>
      </dgm:prSet>
      <dgm:spPr/>
    </dgm:pt>
    <dgm:pt modelId="{135A7502-476D-4E2A-99F8-305E836D0BC8}" type="pres">
      <dgm:prSet presAssocID="{A3668552-D1CE-4320-9249-EFDEB7077AF6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0C952503-18C7-454F-B786-5360EAFAD6B3}" type="pres">
      <dgm:prSet presAssocID="{FD61E3DE-0128-4705-84AB-B015871BB225}" presName="Name8" presStyleCnt="0"/>
      <dgm:spPr/>
    </dgm:pt>
    <dgm:pt modelId="{BD3056CF-F1E7-45EF-BC9D-71900391C21D}" type="pres">
      <dgm:prSet presAssocID="{FD61E3DE-0128-4705-84AB-B015871BB225}" presName="level" presStyleLbl="node1" presStyleIdx="1" presStyleCnt="6" custScaleX="96909">
        <dgm:presLayoutVars>
          <dgm:chMax val="1"/>
          <dgm:bulletEnabled val="1"/>
        </dgm:presLayoutVars>
      </dgm:prSet>
      <dgm:spPr/>
    </dgm:pt>
    <dgm:pt modelId="{11AF18E7-A627-47C0-8C45-3A40ACE1B781}" type="pres">
      <dgm:prSet presAssocID="{FD61E3DE-0128-4705-84AB-B015871BB225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04BE712D-D8DA-4057-877E-ECBE60BBD952}" type="pres">
      <dgm:prSet presAssocID="{F6C47437-9C37-4A7F-B4DF-EBDEC1434CD1}" presName="Name8" presStyleCnt="0"/>
      <dgm:spPr/>
    </dgm:pt>
    <dgm:pt modelId="{059737BC-8212-4A01-B383-B6C4ED2C8CC1}" type="pres">
      <dgm:prSet presAssocID="{F6C47437-9C37-4A7F-B4DF-EBDEC1434CD1}" presName="level" presStyleLbl="node1" presStyleIdx="2" presStyleCnt="6" custScaleX="97453">
        <dgm:presLayoutVars>
          <dgm:chMax val="1"/>
          <dgm:bulletEnabled val="1"/>
        </dgm:presLayoutVars>
      </dgm:prSet>
      <dgm:spPr/>
    </dgm:pt>
    <dgm:pt modelId="{63203DCB-E3B5-4510-A2DC-C96A783F3FB1}" type="pres">
      <dgm:prSet presAssocID="{F6C47437-9C37-4A7F-B4DF-EBDEC1434CD1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7D5D0124-CFFC-4D4B-8B91-DE234DB11226}" type="pres">
      <dgm:prSet presAssocID="{8C14B61F-DEF0-4DFF-BF22-15CE1AF8E724}" presName="Name8" presStyleCnt="0"/>
      <dgm:spPr/>
    </dgm:pt>
    <dgm:pt modelId="{AB9788C4-71E2-436B-B92D-86A0EF97192B}" type="pres">
      <dgm:prSet presAssocID="{8C14B61F-DEF0-4DFF-BF22-15CE1AF8E724}" presName="level" presStyleLbl="node1" presStyleIdx="3" presStyleCnt="6" custScaleX="98927">
        <dgm:presLayoutVars>
          <dgm:chMax val="1"/>
          <dgm:bulletEnabled val="1"/>
        </dgm:presLayoutVars>
      </dgm:prSet>
      <dgm:spPr/>
    </dgm:pt>
    <dgm:pt modelId="{296712CF-801B-4EAE-8484-49EE61453340}" type="pres">
      <dgm:prSet presAssocID="{8C14B61F-DEF0-4DFF-BF22-15CE1AF8E724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E15772B3-8110-471F-A7C3-32165E8DE4B4}" type="pres">
      <dgm:prSet presAssocID="{3037B814-8944-4D29-A21A-9E85542B91DC}" presName="Name8" presStyleCnt="0"/>
      <dgm:spPr/>
    </dgm:pt>
    <dgm:pt modelId="{70497EFC-356D-4558-B1FA-8B195062705A}" type="pres">
      <dgm:prSet presAssocID="{3037B814-8944-4D29-A21A-9E85542B91DC}" presName="level" presStyleLbl="node1" presStyleIdx="4" presStyleCnt="6" custScaleX="99571">
        <dgm:presLayoutVars>
          <dgm:chMax val="1"/>
          <dgm:bulletEnabled val="1"/>
        </dgm:presLayoutVars>
      </dgm:prSet>
      <dgm:spPr/>
    </dgm:pt>
    <dgm:pt modelId="{015DB7EA-9900-4369-957E-0C5DA48989A2}" type="pres">
      <dgm:prSet presAssocID="{3037B814-8944-4D29-A21A-9E85542B91DC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548DF474-25CA-441A-8445-55AEBB3D14F1}" type="pres">
      <dgm:prSet presAssocID="{ED6B6941-AD5C-4C37-8FC9-CF6956F3176A}" presName="Name8" presStyleCnt="0"/>
      <dgm:spPr/>
    </dgm:pt>
    <dgm:pt modelId="{E9163751-0411-4E9A-9FC0-2CDC258CFD57}" type="pres">
      <dgm:prSet presAssocID="{ED6B6941-AD5C-4C37-8FC9-CF6956F3176A}" presName="level" presStyleLbl="node1" presStyleIdx="5" presStyleCnt="6">
        <dgm:presLayoutVars>
          <dgm:chMax val="1"/>
          <dgm:bulletEnabled val="1"/>
        </dgm:presLayoutVars>
      </dgm:prSet>
      <dgm:spPr/>
    </dgm:pt>
    <dgm:pt modelId="{AD8C8792-1C38-4576-AD3D-FA9CDE66A1E8}" type="pres">
      <dgm:prSet presAssocID="{ED6B6941-AD5C-4C37-8FC9-CF6956F3176A}" presName="levelTx" presStyleLbl="revTx" presStyleIdx="0" presStyleCnt="0">
        <dgm:presLayoutVars>
          <dgm:chMax val="1"/>
          <dgm:bulletEnabled val="1"/>
        </dgm:presLayoutVars>
      </dgm:prSet>
      <dgm:spPr/>
    </dgm:pt>
  </dgm:ptLst>
  <dgm:cxnLst>
    <dgm:cxn modelId="{EBA83901-241B-4C10-A51C-8B6D5F8CBA50}" type="presOf" srcId="{A3668552-D1CE-4320-9249-EFDEB7077AF6}" destId="{01702801-A791-4BC8-933A-5BE4B53E6834}" srcOrd="0" destOrd="0" presId="urn:microsoft.com/office/officeart/2005/8/layout/pyramid1"/>
    <dgm:cxn modelId="{B3613402-0141-4C13-8414-5FA96DBE7A05}" srcId="{70422BEA-56E1-4E9C-9C8C-12579C83A52B}" destId="{ED6B6941-AD5C-4C37-8FC9-CF6956F3176A}" srcOrd="5" destOrd="0" parTransId="{FA16ED49-8958-48B0-A346-1FA9BBDDA6D9}" sibTransId="{3CF9F69A-3C71-44F0-8C4B-05745AA7679B}"/>
    <dgm:cxn modelId="{9FD52A18-904D-4F71-B714-52D10B5B6CDF}" type="presOf" srcId="{FD61E3DE-0128-4705-84AB-B015871BB225}" destId="{BD3056CF-F1E7-45EF-BC9D-71900391C21D}" srcOrd="0" destOrd="0" presId="urn:microsoft.com/office/officeart/2005/8/layout/pyramid1"/>
    <dgm:cxn modelId="{BA71A82B-0DCC-4519-B65C-BC7406998D7F}" type="presOf" srcId="{ED6B6941-AD5C-4C37-8FC9-CF6956F3176A}" destId="{AD8C8792-1C38-4576-AD3D-FA9CDE66A1E8}" srcOrd="1" destOrd="0" presId="urn:microsoft.com/office/officeart/2005/8/layout/pyramid1"/>
    <dgm:cxn modelId="{28319338-6B64-45F3-B700-543B68D75744}" type="presOf" srcId="{70422BEA-56E1-4E9C-9C8C-12579C83A52B}" destId="{088A1E1D-A095-46A8-B695-D6DEA9C58EF8}" srcOrd="0" destOrd="0" presId="urn:microsoft.com/office/officeart/2005/8/layout/pyramid1"/>
    <dgm:cxn modelId="{80C1E53C-9B46-4A6E-BD1D-2FB7F8000EC2}" srcId="{70422BEA-56E1-4E9C-9C8C-12579C83A52B}" destId="{F6C47437-9C37-4A7F-B4DF-EBDEC1434CD1}" srcOrd="2" destOrd="0" parTransId="{90FF7BD9-773D-42FE-9037-CCF1302A3EEF}" sibTransId="{55B3C2F5-CC61-498D-AC2E-761B46AFE1D5}"/>
    <dgm:cxn modelId="{FCC13E5D-3F3D-404D-824E-6C372F5587DC}" type="presOf" srcId="{3037B814-8944-4D29-A21A-9E85542B91DC}" destId="{015DB7EA-9900-4369-957E-0C5DA48989A2}" srcOrd="1" destOrd="0" presId="urn:microsoft.com/office/officeart/2005/8/layout/pyramid1"/>
    <dgm:cxn modelId="{9486E256-2709-4A44-8E51-D4770CD4ECC4}" type="presOf" srcId="{8C14B61F-DEF0-4DFF-BF22-15CE1AF8E724}" destId="{AB9788C4-71E2-436B-B92D-86A0EF97192B}" srcOrd="0" destOrd="0" presId="urn:microsoft.com/office/officeart/2005/8/layout/pyramid1"/>
    <dgm:cxn modelId="{9009DC5A-33E4-4D89-9B7B-0238D7C99304}" type="presOf" srcId="{3037B814-8944-4D29-A21A-9E85542B91DC}" destId="{70497EFC-356D-4558-B1FA-8B195062705A}" srcOrd="0" destOrd="0" presId="urn:microsoft.com/office/officeart/2005/8/layout/pyramid1"/>
    <dgm:cxn modelId="{B072459D-2DE5-436E-B49D-679D7BAF6A95}" type="presOf" srcId="{8C14B61F-DEF0-4DFF-BF22-15CE1AF8E724}" destId="{296712CF-801B-4EAE-8484-49EE61453340}" srcOrd="1" destOrd="0" presId="urn:microsoft.com/office/officeart/2005/8/layout/pyramid1"/>
    <dgm:cxn modelId="{AA5934A4-C494-4064-9743-C1EC8086D604}" type="presOf" srcId="{A3668552-D1CE-4320-9249-EFDEB7077AF6}" destId="{135A7502-476D-4E2A-99F8-305E836D0BC8}" srcOrd="1" destOrd="0" presId="urn:microsoft.com/office/officeart/2005/8/layout/pyramid1"/>
    <dgm:cxn modelId="{D9C0DFAD-C696-435C-A6D0-09438BF1A152}" type="presOf" srcId="{F6C47437-9C37-4A7F-B4DF-EBDEC1434CD1}" destId="{059737BC-8212-4A01-B383-B6C4ED2C8CC1}" srcOrd="0" destOrd="0" presId="urn:microsoft.com/office/officeart/2005/8/layout/pyramid1"/>
    <dgm:cxn modelId="{706EAABE-81EF-4F4E-B258-D7F1055669EA}" srcId="{70422BEA-56E1-4E9C-9C8C-12579C83A52B}" destId="{FD61E3DE-0128-4705-84AB-B015871BB225}" srcOrd="1" destOrd="0" parTransId="{E7333F9B-D6B8-4970-A1B1-19358E02CD11}" sibTransId="{596E3D89-EBDB-4DCE-93C9-07B89A674D70}"/>
    <dgm:cxn modelId="{5F2F28BF-EC01-49CF-85E0-A5BC2B768DDD}" srcId="{70422BEA-56E1-4E9C-9C8C-12579C83A52B}" destId="{3037B814-8944-4D29-A21A-9E85542B91DC}" srcOrd="4" destOrd="0" parTransId="{9B9AD0B2-0686-4ABE-BAC4-27C8AA940CB6}" sibTransId="{8C96A2DA-A676-473A-9C46-385DB1F96A66}"/>
    <dgm:cxn modelId="{93FE81C6-BC0A-4087-AA9A-D34AAF3F0E1F}" type="presOf" srcId="{F6C47437-9C37-4A7F-B4DF-EBDEC1434CD1}" destId="{63203DCB-E3B5-4510-A2DC-C96A783F3FB1}" srcOrd="1" destOrd="0" presId="urn:microsoft.com/office/officeart/2005/8/layout/pyramid1"/>
    <dgm:cxn modelId="{A8F755DF-58E8-4020-9C9B-5E25CB08F645}" srcId="{70422BEA-56E1-4E9C-9C8C-12579C83A52B}" destId="{A3668552-D1CE-4320-9249-EFDEB7077AF6}" srcOrd="0" destOrd="0" parTransId="{CD6AD2B5-67C6-49ED-80DE-09DC1F9E40E2}" sibTransId="{1447571F-0EB0-425A-96EC-3B4C323BAD9A}"/>
    <dgm:cxn modelId="{36BA17E8-782B-4D0C-8E60-84BC5E789049}" srcId="{70422BEA-56E1-4E9C-9C8C-12579C83A52B}" destId="{8C14B61F-DEF0-4DFF-BF22-15CE1AF8E724}" srcOrd="3" destOrd="0" parTransId="{2E252F28-81E8-4F92-BFED-AB6ABBA0B894}" sibTransId="{50544993-3F7D-4BC2-BBA9-729906CC5C2A}"/>
    <dgm:cxn modelId="{82F956E9-E989-4433-9AD7-B85F07DCAAED}" type="presOf" srcId="{FD61E3DE-0128-4705-84AB-B015871BB225}" destId="{11AF18E7-A627-47C0-8C45-3A40ACE1B781}" srcOrd="1" destOrd="0" presId="urn:microsoft.com/office/officeart/2005/8/layout/pyramid1"/>
    <dgm:cxn modelId="{DD7337EA-6A72-480C-97D9-3295307D63A7}" type="presOf" srcId="{ED6B6941-AD5C-4C37-8FC9-CF6956F3176A}" destId="{E9163751-0411-4E9A-9FC0-2CDC258CFD57}" srcOrd="0" destOrd="0" presId="urn:microsoft.com/office/officeart/2005/8/layout/pyramid1"/>
    <dgm:cxn modelId="{82DA1401-203F-4511-8F11-333CC852476C}" type="presParOf" srcId="{088A1E1D-A095-46A8-B695-D6DEA9C58EF8}" destId="{2109CA09-FB32-49F6-8368-D5F05085C29C}" srcOrd="0" destOrd="0" presId="urn:microsoft.com/office/officeart/2005/8/layout/pyramid1"/>
    <dgm:cxn modelId="{31C8244C-C116-4824-B286-381AE0A35FAE}" type="presParOf" srcId="{2109CA09-FB32-49F6-8368-D5F05085C29C}" destId="{01702801-A791-4BC8-933A-5BE4B53E6834}" srcOrd="0" destOrd="0" presId="urn:microsoft.com/office/officeart/2005/8/layout/pyramid1"/>
    <dgm:cxn modelId="{8BE1F421-1102-4669-93D9-5F4B28D44B38}" type="presParOf" srcId="{2109CA09-FB32-49F6-8368-D5F05085C29C}" destId="{135A7502-476D-4E2A-99F8-305E836D0BC8}" srcOrd="1" destOrd="0" presId="urn:microsoft.com/office/officeart/2005/8/layout/pyramid1"/>
    <dgm:cxn modelId="{6168ED15-3529-41AF-BA8F-CE5A1C88C497}" type="presParOf" srcId="{088A1E1D-A095-46A8-B695-D6DEA9C58EF8}" destId="{0C952503-18C7-454F-B786-5360EAFAD6B3}" srcOrd="1" destOrd="0" presId="urn:microsoft.com/office/officeart/2005/8/layout/pyramid1"/>
    <dgm:cxn modelId="{4AF8EF10-FB41-4D0E-A983-7D09F2F53387}" type="presParOf" srcId="{0C952503-18C7-454F-B786-5360EAFAD6B3}" destId="{BD3056CF-F1E7-45EF-BC9D-71900391C21D}" srcOrd="0" destOrd="0" presId="urn:microsoft.com/office/officeart/2005/8/layout/pyramid1"/>
    <dgm:cxn modelId="{7EE92396-5E18-4E14-A24B-95900DAA9049}" type="presParOf" srcId="{0C952503-18C7-454F-B786-5360EAFAD6B3}" destId="{11AF18E7-A627-47C0-8C45-3A40ACE1B781}" srcOrd="1" destOrd="0" presId="urn:microsoft.com/office/officeart/2005/8/layout/pyramid1"/>
    <dgm:cxn modelId="{A2D8EE91-3FD8-44FE-8ED5-CECCF5AE98BC}" type="presParOf" srcId="{088A1E1D-A095-46A8-B695-D6DEA9C58EF8}" destId="{04BE712D-D8DA-4057-877E-ECBE60BBD952}" srcOrd="2" destOrd="0" presId="urn:microsoft.com/office/officeart/2005/8/layout/pyramid1"/>
    <dgm:cxn modelId="{94B156BF-68A9-42CE-8360-E653CC64D887}" type="presParOf" srcId="{04BE712D-D8DA-4057-877E-ECBE60BBD952}" destId="{059737BC-8212-4A01-B383-B6C4ED2C8CC1}" srcOrd="0" destOrd="0" presId="urn:microsoft.com/office/officeart/2005/8/layout/pyramid1"/>
    <dgm:cxn modelId="{0DA4D370-8225-48F3-AACC-C76139EFF993}" type="presParOf" srcId="{04BE712D-D8DA-4057-877E-ECBE60BBD952}" destId="{63203DCB-E3B5-4510-A2DC-C96A783F3FB1}" srcOrd="1" destOrd="0" presId="urn:microsoft.com/office/officeart/2005/8/layout/pyramid1"/>
    <dgm:cxn modelId="{AFF4F3FB-4C9B-484B-B0E6-41650C974BC7}" type="presParOf" srcId="{088A1E1D-A095-46A8-B695-D6DEA9C58EF8}" destId="{7D5D0124-CFFC-4D4B-8B91-DE234DB11226}" srcOrd="3" destOrd="0" presId="urn:microsoft.com/office/officeart/2005/8/layout/pyramid1"/>
    <dgm:cxn modelId="{C9D1DC19-1976-430E-8BB7-EB8CBB2B1197}" type="presParOf" srcId="{7D5D0124-CFFC-4D4B-8B91-DE234DB11226}" destId="{AB9788C4-71E2-436B-B92D-86A0EF97192B}" srcOrd="0" destOrd="0" presId="urn:microsoft.com/office/officeart/2005/8/layout/pyramid1"/>
    <dgm:cxn modelId="{CA4182B7-CE53-4926-B915-DF17451C206D}" type="presParOf" srcId="{7D5D0124-CFFC-4D4B-8B91-DE234DB11226}" destId="{296712CF-801B-4EAE-8484-49EE61453340}" srcOrd="1" destOrd="0" presId="urn:microsoft.com/office/officeart/2005/8/layout/pyramid1"/>
    <dgm:cxn modelId="{C9222EFD-787C-4340-B657-61945D85E6A1}" type="presParOf" srcId="{088A1E1D-A095-46A8-B695-D6DEA9C58EF8}" destId="{E15772B3-8110-471F-A7C3-32165E8DE4B4}" srcOrd="4" destOrd="0" presId="urn:microsoft.com/office/officeart/2005/8/layout/pyramid1"/>
    <dgm:cxn modelId="{E3774FCE-730E-416F-9D34-E598491FB35B}" type="presParOf" srcId="{E15772B3-8110-471F-A7C3-32165E8DE4B4}" destId="{70497EFC-356D-4558-B1FA-8B195062705A}" srcOrd="0" destOrd="0" presId="urn:microsoft.com/office/officeart/2005/8/layout/pyramid1"/>
    <dgm:cxn modelId="{132E9D33-8776-47B7-90BA-9360A254FA5E}" type="presParOf" srcId="{E15772B3-8110-471F-A7C3-32165E8DE4B4}" destId="{015DB7EA-9900-4369-957E-0C5DA48989A2}" srcOrd="1" destOrd="0" presId="urn:microsoft.com/office/officeart/2005/8/layout/pyramid1"/>
    <dgm:cxn modelId="{7BE999FE-43FA-4B48-93FE-5CB8437A9189}" type="presParOf" srcId="{088A1E1D-A095-46A8-B695-D6DEA9C58EF8}" destId="{548DF474-25CA-441A-8445-55AEBB3D14F1}" srcOrd="5" destOrd="0" presId="urn:microsoft.com/office/officeart/2005/8/layout/pyramid1"/>
    <dgm:cxn modelId="{04C5B17F-8A25-401C-91AE-523485D04025}" type="presParOf" srcId="{548DF474-25CA-441A-8445-55AEBB3D14F1}" destId="{E9163751-0411-4E9A-9FC0-2CDC258CFD57}" srcOrd="0" destOrd="0" presId="urn:microsoft.com/office/officeart/2005/8/layout/pyramid1"/>
    <dgm:cxn modelId="{5000653D-0A47-48D0-8A74-F70F0846FBCB}" type="presParOf" srcId="{548DF474-25CA-441A-8445-55AEBB3D14F1}" destId="{AD8C8792-1C38-4576-AD3D-FA9CDE66A1E8}" srcOrd="1" destOrd="0" presId="urn:microsoft.com/office/officeart/2005/8/layout/pyramid1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70422BEA-56E1-4E9C-9C8C-12579C83A52B}" type="doc">
      <dgm:prSet loTypeId="urn:microsoft.com/office/officeart/2005/8/layout/pyramid1" loCatId="pyramid" qsTypeId="urn:microsoft.com/office/officeart/2005/8/quickstyle/simple4" qsCatId="simple" csTypeId="urn:microsoft.com/office/officeart/2005/8/colors/accent1_2" csCatId="accent1" phldr="1"/>
      <dgm:spPr/>
      <dgm:t>
        <a:bodyPr/>
        <a:lstStyle/>
        <a:p>
          <a:endParaRPr lang="cs-CZ"/>
        </a:p>
      </dgm:t>
    </dgm:pt>
    <dgm:pt modelId="{A3668552-D1CE-4320-9249-EFDEB7077AF6}">
      <dgm:prSet phldrT="[Text]" custT="1"/>
      <dgm:spPr/>
      <dgm:t>
        <a:bodyPr/>
        <a:lstStyle/>
        <a:p>
          <a:r>
            <a:rPr lang="cs-CZ" sz="1200" b="1">
              <a:solidFill>
                <a:schemeClr val="tx2"/>
              </a:solidFill>
              <a:latin typeface="+mn-lt"/>
            </a:rPr>
            <a:t>IS organizace (SIEM+LM, krypto.)</a:t>
          </a:r>
          <a:endParaRPr lang="cs-CZ" sz="1200" b="1" dirty="0">
            <a:solidFill>
              <a:schemeClr val="tx2"/>
            </a:solidFill>
            <a:latin typeface="+mn-lt"/>
          </a:endParaRPr>
        </a:p>
      </dgm:t>
    </dgm:pt>
    <dgm:pt modelId="{CD6AD2B5-67C6-49ED-80DE-09DC1F9E40E2}" type="parTrans" cxnId="{A8F755DF-58E8-4020-9C9B-5E25CB08F645}">
      <dgm:prSet/>
      <dgm:spPr/>
      <dgm:t>
        <a:bodyPr/>
        <a:lstStyle/>
        <a:p>
          <a:endParaRPr lang="cs-CZ" sz="1200">
            <a:solidFill>
              <a:schemeClr val="tx2"/>
            </a:solidFill>
          </a:endParaRPr>
        </a:p>
      </dgm:t>
    </dgm:pt>
    <dgm:pt modelId="{1447571F-0EB0-425A-96EC-3B4C323BAD9A}" type="sibTrans" cxnId="{A8F755DF-58E8-4020-9C9B-5E25CB08F645}">
      <dgm:prSet/>
      <dgm:spPr/>
      <dgm:t>
        <a:bodyPr/>
        <a:lstStyle/>
        <a:p>
          <a:endParaRPr lang="cs-CZ" sz="1200">
            <a:solidFill>
              <a:schemeClr val="tx2"/>
            </a:solidFill>
          </a:endParaRPr>
        </a:p>
      </dgm:t>
    </dgm:pt>
    <dgm:pt modelId="{3037B814-8944-4D29-A21A-9E85542B91DC}">
      <dgm:prSet phldrT="[Text]" custT="1"/>
      <dgm:spPr/>
      <dgm:t>
        <a:bodyPr/>
        <a:lstStyle/>
        <a:p>
          <a:r>
            <a:rPr lang="cs-CZ" sz="1200" b="1">
              <a:solidFill>
                <a:schemeClr val="tx2"/>
              </a:solidFill>
              <a:latin typeface="+mn-lt"/>
            </a:rPr>
            <a:t>Zajištění dostupnosti (systémy v režimu vysoké dostupnosti )</a:t>
          </a:r>
          <a:endParaRPr lang="cs-CZ" sz="1200" b="1" dirty="0">
            <a:solidFill>
              <a:schemeClr val="tx2"/>
            </a:solidFill>
            <a:latin typeface="+mn-lt"/>
          </a:endParaRPr>
        </a:p>
      </dgm:t>
    </dgm:pt>
    <dgm:pt modelId="{9B9AD0B2-0686-4ABE-BAC4-27C8AA940CB6}" type="parTrans" cxnId="{5F2F28BF-EC01-49CF-85E0-A5BC2B768DDD}">
      <dgm:prSet/>
      <dgm:spPr/>
      <dgm:t>
        <a:bodyPr/>
        <a:lstStyle/>
        <a:p>
          <a:endParaRPr lang="cs-CZ" sz="1200">
            <a:solidFill>
              <a:schemeClr val="tx2"/>
            </a:solidFill>
          </a:endParaRPr>
        </a:p>
      </dgm:t>
    </dgm:pt>
    <dgm:pt modelId="{8C96A2DA-A676-473A-9C46-385DB1F96A66}" type="sibTrans" cxnId="{5F2F28BF-EC01-49CF-85E0-A5BC2B768DDD}">
      <dgm:prSet/>
      <dgm:spPr/>
      <dgm:t>
        <a:bodyPr/>
        <a:lstStyle/>
        <a:p>
          <a:endParaRPr lang="cs-CZ" sz="1200">
            <a:solidFill>
              <a:schemeClr val="tx2"/>
            </a:solidFill>
          </a:endParaRPr>
        </a:p>
      </dgm:t>
    </dgm:pt>
    <dgm:pt modelId="{ED6B6941-AD5C-4C37-8FC9-CF6956F3176A}">
      <dgm:prSet phldrT="[Text]" custT="1"/>
      <dgm:spPr/>
      <dgm:t>
        <a:bodyPr/>
        <a:lstStyle/>
        <a:p>
          <a:r>
            <a:rPr lang="cs-CZ" sz="1200" b="1">
              <a:solidFill>
                <a:schemeClr val="tx2"/>
              </a:solidFill>
              <a:latin typeface="+mn-lt"/>
            </a:rPr>
            <a:t>Fyzická bezpečnost (přístupy, EZS, EPS)</a:t>
          </a:r>
          <a:endParaRPr lang="cs-CZ" sz="1200" b="1" dirty="0">
            <a:solidFill>
              <a:schemeClr val="tx2"/>
            </a:solidFill>
            <a:latin typeface="+mn-lt"/>
          </a:endParaRPr>
        </a:p>
      </dgm:t>
    </dgm:pt>
    <dgm:pt modelId="{FA16ED49-8958-48B0-A346-1FA9BBDDA6D9}" type="parTrans" cxnId="{B3613402-0141-4C13-8414-5FA96DBE7A05}">
      <dgm:prSet/>
      <dgm:spPr/>
      <dgm:t>
        <a:bodyPr/>
        <a:lstStyle/>
        <a:p>
          <a:endParaRPr lang="cs-CZ" sz="1200">
            <a:solidFill>
              <a:schemeClr val="tx2"/>
            </a:solidFill>
          </a:endParaRPr>
        </a:p>
      </dgm:t>
    </dgm:pt>
    <dgm:pt modelId="{3CF9F69A-3C71-44F0-8C4B-05745AA7679B}" type="sibTrans" cxnId="{B3613402-0141-4C13-8414-5FA96DBE7A05}">
      <dgm:prSet/>
      <dgm:spPr/>
      <dgm:t>
        <a:bodyPr/>
        <a:lstStyle/>
        <a:p>
          <a:endParaRPr lang="cs-CZ" sz="1200">
            <a:solidFill>
              <a:schemeClr val="tx2"/>
            </a:solidFill>
          </a:endParaRPr>
        </a:p>
      </dgm:t>
    </dgm:pt>
    <dgm:pt modelId="{8C14B61F-DEF0-4DFF-BF22-15CE1AF8E724}">
      <dgm:prSet custT="1"/>
      <dgm:spPr/>
      <dgm:t>
        <a:bodyPr/>
        <a:lstStyle/>
        <a:p>
          <a:r>
            <a:rPr lang="cs-CZ" sz="1200" b="1" dirty="0">
              <a:solidFill>
                <a:schemeClr val="tx2"/>
              </a:solidFill>
              <a:latin typeface="+mn-lt"/>
            </a:rPr>
            <a:t>Koncové body (</a:t>
          </a:r>
          <a:r>
            <a:rPr lang="cs-CZ" sz="1200" b="1" dirty="0" err="1">
              <a:solidFill>
                <a:schemeClr val="tx2"/>
              </a:solidFill>
              <a:latin typeface="+mn-lt"/>
            </a:rPr>
            <a:t>AV+EDR+Patch</a:t>
          </a:r>
          <a:r>
            <a:rPr lang="cs-CZ" sz="1200" b="1" dirty="0">
              <a:solidFill>
                <a:schemeClr val="tx2"/>
              </a:solidFill>
              <a:latin typeface="+mn-lt"/>
            </a:rPr>
            <a:t> </a:t>
          </a:r>
          <a:r>
            <a:rPr lang="cs-CZ" sz="1200" b="1" dirty="0" err="1">
              <a:solidFill>
                <a:schemeClr val="tx2"/>
              </a:solidFill>
              <a:latin typeface="+mn-lt"/>
            </a:rPr>
            <a:t>management+VM</a:t>
          </a:r>
          <a:r>
            <a:rPr lang="cs-CZ" sz="1200" b="1" dirty="0">
              <a:solidFill>
                <a:schemeClr val="tx2"/>
              </a:solidFill>
              <a:latin typeface="+mn-lt"/>
            </a:rPr>
            <a:t>)</a:t>
          </a:r>
        </a:p>
      </dgm:t>
    </dgm:pt>
    <dgm:pt modelId="{2E252F28-81E8-4F92-BFED-AB6ABBA0B894}" type="parTrans" cxnId="{36BA17E8-782B-4D0C-8E60-84BC5E789049}">
      <dgm:prSet/>
      <dgm:spPr/>
      <dgm:t>
        <a:bodyPr/>
        <a:lstStyle/>
        <a:p>
          <a:endParaRPr lang="cs-CZ" sz="1200">
            <a:solidFill>
              <a:schemeClr val="tx2"/>
            </a:solidFill>
          </a:endParaRPr>
        </a:p>
      </dgm:t>
    </dgm:pt>
    <dgm:pt modelId="{50544993-3F7D-4BC2-BBA9-729906CC5C2A}" type="sibTrans" cxnId="{36BA17E8-782B-4D0C-8E60-84BC5E789049}">
      <dgm:prSet/>
      <dgm:spPr/>
      <dgm:t>
        <a:bodyPr/>
        <a:lstStyle/>
        <a:p>
          <a:endParaRPr lang="cs-CZ" sz="1200">
            <a:solidFill>
              <a:schemeClr val="tx2"/>
            </a:solidFill>
          </a:endParaRPr>
        </a:p>
      </dgm:t>
    </dgm:pt>
    <dgm:pt modelId="{FD61E3DE-0128-4705-84AB-B015871BB225}">
      <dgm:prSet custT="1"/>
      <dgm:spPr/>
      <dgm:t>
        <a:bodyPr/>
        <a:lstStyle/>
        <a:p>
          <a:r>
            <a:rPr lang="cs-CZ" sz="1200" b="1" dirty="0">
              <a:solidFill>
                <a:schemeClr val="tx2"/>
              </a:solidFill>
              <a:latin typeface="+mn-lt"/>
            </a:rPr>
            <a:t>Servery (EDR, VM, LM, PAM)</a:t>
          </a:r>
        </a:p>
      </dgm:t>
    </dgm:pt>
    <dgm:pt modelId="{E7333F9B-D6B8-4970-A1B1-19358E02CD11}" type="parTrans" cxnId="{706EAABE-81EF-4F4E-B258-D7F1055669EA}">
      <dgm:prSet/>
      <dgm:spPr/>
      <dgm:t>
        <a:bodyPr/>
        <a:lstStyle/>
        <a:p>
          <a:endParaRPr lang="cs-CZ" sz="1200">
            <a:solidFill>
              <a:schemeClr val="tx2"/>
            </a:solidFill>
          </a:endParaRPr>
        </a:p>
      </dgm:t>
    </dgm:pt>
    <dgm:pt modelId="{596E3D89-EBDB-4DCE-93C9-07B89A674D70}" type="sibTrans" cxnId="{706EAABE-81EF-4F4E-B258-D7F1055669EA}">
      <dgm:prSet/>
      <dgm:spPr/>
      <dgm:t>
        <a:bodyPr/>
        <a:lstStyle/>
        <a:p>
          <a:endParaRPr lang="cs-CZ" sz="1200">
            <a:solidFill>
              <a:schemeClr val="tx2"/>
            </a:solidFill>
          </a:endParaRPr>
        </a:p>
      </dgm:t>
    </dgm:pt>
    <dgm:pt modelId="{F6C47437-9C37-4A7F-B4DF-EBDEC1434CD1}">
      <dgm:prSet custT="1"/>
      <dgm:spPr/>
      <dgm:t>
        <a:bodyPr/>
        <a:lstStyle/>
        <a:p>
          <a:r>
            <a:rPr lang="cs-CZ" sz="1200" b="1">
              <a:solidFill>
                <a:schemeClr val="tx2"/>
              </a:solidFill>
              <a:latin typeface="+mn-lt"/>
            </a:rPr>
            <a:t>Síťová vrstva (NDR, NAC, FW, MFA)</a:t>
          </a:r>
          <a:endParaRPr lang="cs-CZ" sz="1200" b="1" dirty="0">
            <a:solidFill>
              <a:schemeClr val="tx2"/>
            </a:solidFill>
            <a:latin typeface="+mn-lt"/>
          </a:endParaRPr>
        </a:p>
      </dgm:t>
    </dgm:pt>
    <dgm:pt modelId="{90FF7BD9-773D-42FE-9037-CCF1302A3EEF}" type="parTrans" cxnId="{80C1E53C-9B46-4A6E-BD1D-2FB7F8000EC2}">
      <dgm:prSet/>
      <dgm:spPr/>
      <dgm:t>
        <a:bodyPr/>
        <a:lstStyle/>
        <a:p>
          <a:endParaRPr lang="cs-CZ" sz="1200">
            <a:solidFill>
              <a:schemeClr val="tx2"/>
            </a:solidFill>
          </a:endParaRPr>
        </a:p>
      </dgm:t>
    </dgm:pt>
    <dgm:pt modelId="{55B3C2F5-CC61-498D-AC2E-761B46AFE1D5}" type="sibTrans" cxnId="{80C1E53C-9B46-4A6E-BD1D-2FB7F8000EC2}">
      <dgm:prSet/>
      <dgm:spPr/>
      <dgm:t>
        <a:bodyPr/>
        <a:lstStyle/>
        <a:p>
          <a:endParaRPr lang="cs-CZ" sz="1200">
            <a:solidFill>
              <a:schemeClr val="tx2"/>
            </a:solidFill>
          </a:endParaRPr>
        </a:p>
      </dgm:t>
    </dgm:pt>
    <dgm:pt modelId="{088A1E1D-A095-46A8-B695-D6DEA9C58EF8}" type="pres">
      <dgm:prSet presAssocID="{70422BEA-56E1-4E9C-9C8C-12579C83A52B}" presName="Name0" presStyleCnt="0">
        <dgm:presLayoutVars>
          <dgm:dir/>
          <dgm:animLvl val="lvl"/>
          <dgm:resizeHandles val="exact"/>
        </dgm:presLayoutVars>
      </dgm:prSet>
      <dgm:spPr/>
    </dgm:pt>
    <dgm:pt modelId="{2109CA09-FB32-49F6-8368-D5F05085C29C}" type="pres">
      <dgm:prSet presAssocID="{A3668552-D1CE-4320-9249-EFDEB7077AF6}" presName="Name8" presStyleCnt="0"/>
      <dgm:spPr/>
    </dgm:pt>
    <dgm:pt modelId="{01702801-A791-4BC8-933A-5BE4B53E6834}" type="pres">
      <dgm:prSet presAssocID="{A3668552-D1CE-4320-9249-EFDEB7077AF6}" presName="level" presStyleLbl="node1" presStyleIdx="0" presStyleCnt="6">
        <dgm:presLayoutVars>
          <dgm:chMax val="1"/>
          <dgm:bulletEnabled val="1"/>
        </dgm:presLayoutVars>
      </dgm:prSet>
      <dgm:spPr/>
    </dgm:pt>
    <dgm:pt modelId="{135A7502-476D-4E2A-99F8-305E836D0BC8}" type="pres">
      <dgm:prSet presAssocID="{A3668552-D1CE-4320-9249-EFDEB7077AF6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0C952503-18C7-454F-B786-5360EAFAD6B3}" type="pres">
      <dgm:prSet presAssocID="{FD61E3DE-0128-4705-84AB-B015871BB225}" presName="Name8" presStyleCnt="0"/>
      <dgm:spPr/>
    </dgm:pt>
    <dgm:pt modelId="{BD3056CF-F1E7-45EF-BC9D-71900391C21D}" type="pres">
      <dgm:prSet presAssocID="{FD61E3DE-0128-4705-84AB-B015871BB225}" presName="level" presStyleLbl="node1" presStyleIdx="1" presStyleCnt="6">
        <dgm:presLayoutVars>
          <dgm:chMax val="1"/>
          <dgm:bulletEnabled val="1"/>
        </dgm:presLayoutVars>
      </dgm:prSet>
      <dgm:spPr/>
    </dgm:pt>
    <dgm:pt modelId="{11AF18E7-A627-47C0-8C45-3A40ACE1B781}" type="pres">
      <dgm:prSet presAssocID="{FD61E3DE-0128-4705-84AB-B015871BB225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04BE712D-D8DA-4057-877E-ECBE60BBD952}" type="pres">
      <dgm:prSet presAssocID="{F6C47437-9C37-4A7F-B4DF-EBDEC1434CD1}" presName="Name8" presStyleCnt="0"/>
      <dgm:spPr/>
    </dgm:pt>
    <dgm:pt modelId="{059737BC-8212-4A01-B383-B6C4ED2C8CC1}" type="pres">
      <dgm:prSet presAssocID="{F6C47437-9C37-4A7F-B4DF-EBDEC1434CD1}" presName="level" presStyleLbl="node1" presStyleIdx="2" presStyleCnt="6">
        <dgm:presLayoutVars>
          <dgm:chMax val="1"/>
          <dgm:bulletEnabled val="1"/>
        </dgm:presLayoutVars>
      </dgm:prSet>
      <dgm:spPr/>
    </dgm:pt>
    <dgm:pt modelId="{63203DCB-E3B5-4510-A2DC-C96A783F3FB1}" type="pres">
      <dgm:prSet presAssocID="{F6C47437-9C37-4A7F-B4DF-EBDEC1434CD1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7D5D0124-CFFC-4D4B-8B91-DE234DB11226}" type="pres">
      <dgm:prSet presAssocID="{8C14B61F-DEF0-4DFF-BF22-15CE1AF8E724}" presName="Name8" presStyleCnt="0"/>
      <dgm:spPr/>
    </dgm:pt>
    <dgm:pt modelId="{AB9788C4-71E2-436B-B92D-86A0EF97192B}" type="pres">
      <dgm:prSet presAssocID="{8C14B61F-DEF0-4DFF-BF22-15CE1AF8E724}" presName="level" presStyleLbl="node1" presStyleIdx="3" presStyleCnt="6">
        <dgm:presLayoutVars>
          <dgm:chMax val="1"/>
          <dgm:bulletEnabled val="1"/>
        </dgm:presLayoutVars>
      </dgm:prSet>
      <dgm:spPr/>
    </dgm:pt>
    <dgm:pt modelId="{296712CF-801B-4EAE-8484-49EE61453340}" type="pres">
      <dgm:prSet presAssocID="{8C14B61F-DEF0-4DFF-BF22-15CE1AF8E724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E15772B3-8110-471F-A7C3-32165E8DE4B4}" type="pres">
      <dgm:prSet presAssocID="{3037B814-8944-4D29-A21A-9E85542B91DC}" presName="Name8" presStyleCnt="0"/>
      <dgm:spPr/>
    </dgm:pt>
    <dgm:pt modelId="{70497EFC-356D-4558-B1FA-8B195062705A}" type="pres">
      <dgm:prSet presAssocID="{3037B814-8944-4D29-A21A-9E85542B91DC}" presName="level" presStyleLbl="node1" presStyleIdx="4" presStyleCnt="6">
        <dgm:presLayoutVars>
          <dgm:chMax val="1"/>
          <dgm:bulletEnabled val="1"/>
        </dgm:presLayoutVars>
      </dgm:prSet>
      <dgm:spPr/>
    </dgm:pt>
    <dgm:pt modelId="{015DB7EA-9900-4369-957E-0C5DA48989A2}" type="pres">
      <dgm:prSet presAssocID="{3037B814-8944-4D29-A21A-9E85542B91DC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548DF474-25CA-441A-8445-55AEBB3D14F1}" type="pres">
      <dgm:prSet presAssocID="{ED6B6941-AD5C-4C37-8FC9-CF6956F3176A}" presName="Name8" presStyleCnt="0"/>
      <dgm:spPr/>
    </dgm:pt>
    <dgm:pt modelId="{E9163751-0411-4E9A-9FC0-2CDC258CFD57}" type="pres">
      <dgm:prSet presAssocID="{ED6B6941-AD5C-4C37-8FC9-CF6956F3176A}" presName="level" presStyleLbl="node1" presStyleIdx="5" presStyleCnt="6">
        <dgm:presLayoutVars>
          <dgm:chMax val="1"/>
          <dgm:bulletEnabled val="1"/>
        </dgm:presLayoutVars>
      </dgm:prSet>
      <dgm:spPr/>
    </dgm:pt>
    <dgm:pt modelId="{AD8C8792-1C38-4576-AD3D-FA9CDE66A1E8}" type="pres">
      <dgm:prSet presAssocID="{ED6B6941-AD5C-4C37-8FC9-CF6956F3176A}" presName="levelTx" presStyleLbl="revTx" presStyleIdx="0" presStyleCnt="0">
        <dgm:presLayoutVars>
          <dgm:chMax val="1"/>
          <dgm:bulletEnabled val="1"/>
        </dgm:presLayoutVars>
      </dgm:prSet>
      <dgm:spPr/>
    </dgm:pt>
  </dgm:ptLst>
  <dgm:cxnLst>
    <dgm:cxn modelId="{EBA83901-241B-4C10-A51C-8B6D5F8CBA50}" type="presOf" srcId="{A3668552-D1CE-4320-9249-EFDEB7077AF6}" destId="{01702801-A791-4BC8-933A-5BE4B53E6834}" srcOrd="0" destOrd="0" presId="urn:microsoft.com/office/officeart/2005/8/layout/pyramid1"/>
    <dgm:cxn modelId="{B3613402-0141-4C13-8414-5FA96DBE7A05}" srcId="{70422BEA-56E1-4E9C-9C8C-12579C83A52B}" destId="{ED6B6941-AD5C-4C37-8FC9-CF6956F3176A}" srcOrd="5" destOrd="0" parTransId="{FA16ED49-8958-48B0-A346-1FA9BBDDA6D9}" sibTransId="{3CF9F69A-3C71-44F0-8C4B-05745AA7679B}"/>
    <dgm:cxn modelId="{9FD52A18-904D-4F71-B714-52D10B5B6CDF}" type="presOf" srcId="{FD61E3DE-0128-4705-84AB-B015871BB225}" destId="{BD3056CF-F1E7-45EF-BC9D-71900391C21D}" srcOrd="0" destOrd="0" presId="urn:microsoft.com/office/officeart/2005/8/layout/pyramid1"/>
    <dgm:cxn modelId="{BA71A82B-0DCC-4519-B65C-BC7406998D7F}" type="presOf" srcId="{ED6B6941-AD5C-4C37-8FC9-CF6956F3176A}" destId="{AD8C8792-1C38-4576-AD3D-FA9CDE66A1E8}" srcOrd="1" destOrd="0" presId="urn:microsoft.com/office/officeart/2005/8/layout/pyramid1"/>
    <dgm:cxn modelId="{28319338-6B64-45F3-B700-543B68D75744}" type="presOf" srcId="{70422BEA-56E1-4E9C-9C8C-12579C83A52B}" destId="{088A1E1D-A095-46A8-B695-D6DEA9C58EF8}" srcOrd="0" destOrd="0" presId="urn:microsoft.com/office/officeart/2005/8/layout/pyramid1"/>
    <dgm:cxn modelId="{80C1E53C-9B46-4A6E-BD1D-2FB7F8000EC2}" srcId="{70422BEA-56E1-4E9C-9C8C-12579C83A52B}" destId="{F6C47437-9C37-4A7F-B4DF-EBDEC1434CD1}" srcOrd="2" destOrd="0" parTransId="{90FF7BD9-773D-42FE-9037-CCF1302A3EEF}" sibTransId="{55B3C2F5-CC61-498D-AC2E-761B46AFE1D5}"/>
    <dgm:cxn modelId="{FCC13E5D-3F3D-404D-824E-6C372F5587DC}" type="presOf" srcId="{3037B814-8944-4D29-A21A-9E85542B91DC}" destId="{015DB7EA-9900-4369-957E-0C5DA48989A2}" srcOrd="1" destOrd="0" presId="urn:microsoft.com/office/officeart/2005/8/layout/pyramid1"/>
    <dgm:cxn modelId="{9486E256-2709-4A44-8E51-D4770CD4ECC4}" type="presOf" srcId="{8C14B61F-DEF0-4DFF-BF22-15CE1AF8E724}" destId="{AB9788C4-71E2-436B-B92D-86A0EF97192B}" srcOrd="0" destOrd="0" presId="urn:microsoft.com/office/officeart/2005/8/layout/pyramid1"/>
    <dgm:cxn modelId="{9009DC5A-33E4-4D89-9B7B-0238D7C99304}" type="presOf" srcId="{3037B814-8944-4D29-A21A-9E85542B91DC}" destId="{70497EFC-356D-4558-B1FA-8B195062705A}" srcOrd="0" destOrd="0" presId="urn:microsoft.com/office/officeart/2005/8/layout/pyramid1"/>
    <dgm:cxn modelId="{B072459D-2DE5-436E-B49D-679D7BAF6A95}" type="presOf" srcId="{8C14B61F-DEF0-4DFF-BF22-15CE1AF8E724}" destId="{296712CF-801B-4EAE-8484-49EE61453340}" srcOrd="1" destOrd="0" presId="urn:microsoft.com/office/officeart/2005/8/layout/pyramid1"/>
    <dgm:cxn modelId="{AA5934A4-C494-4064-9743-C1EC8086D604}" type="presOf" srcId="{A3668552-D1CE-4320-9249-EFDEB7077AF6}" destId="{135A7502-476D-4E2A-99F8-305E836D0BC8}" srcOrd="1" destOrd="0" presId="urn:microsoft.com/office/officeart/2005/8/layout/pyramid1"/>
    <dgm:cxn modelId="{D9C0DFAD-C696-435C-A6D0-09438BF1A152}" type="presOf" srcId="{F6C47437-9C37-4A7F-B4DF-EBDEC1434CD1}" destId="{059737BC-8212-4A01-B383-B6C4ED2C8CC1}" srcOrd="0" destOrd="0" presId="urn:microsoft.com/office/officeart/2005/8/layout/pyramid1"/>
    <dgm:cxn modelId="{706EAABE-81EF-4F4E-B258-D7F1055669EA}" srcId="{70422BEA-56E1-4E9C-9C8C-12579C83A52B}" destId="{FD61E3DE-0128-4705-84AB-B015871BB225}" srcOrd="1" destOrd="0" parTransId="{E7333F9B-D6B8-4970-A1B1-19358E02CD11}" sibTransId="{596E3D89-EBDB-4DCE-93C9-07B89A674D70}"/>
    <dgm:cxn modelId="{5F2F28BF-EC01-49CF-85E0-A5BC2B768DDD}" srcId="{70422BEA-56E1-4E9C-9C8C-12579C83A52B}" destId="{3037B814-8944-4D29-A21A-9E85542B91DC}" srcOrd="4" destOrd="0" parTransId="{9B9AD0B2-0686-4ABE-BAC4-27C8AA940CB6}" sibTransId="{8C96A2DA-A676-473A-9C46-385DB1F96A66}"/>
    <dgm:cxn modelId="{93FE81C6-BC0A-4087-AA9A-D34AAF3F0E1F}" type="presOf" srcId="{F6C47437-9C37-4A7F-B4DF-EBDEC1434CD1}" destId="{63203DCB-E3B5-4510-A2DC-C96A783F3FB1}" srcOrd="1" destOrd="0" presId="urn:microsoft.com/office/officeart/2005/8/layout/pyramid1"/>
    <dgm:cxn modelId="{A8F755DF-58E8-4020-9C9B-5E25CB08F645}" srcId="{70422BEA-56E1-4E9C-9C8C-12579C83A52B}" destId="{A3668552-D1CE-4320-9249-EFDEB7077AF6}" srcOrd="0" destOrd="0" parTransId="{CD6AD2B5-67C6-49ED-80DE-09DC1F9E40E2}" sibTransId="{1447571F-0EB0-425A-96EC-3B4C323BAD9A}"/>
    <dgm:cxn modelId="{36BA17E8-782B-4D0C-8E60-84BC5E789049}" srcId="{70422BEA-56E1-4E9C-9C8C-12579C83A52B}" destId="{8C14B61F-DEF0-4DFF-BF22-15CE1AF8E724}" srcOrd="3" destOrd="0" parTransId="{2E252F28-81E8-4F92-BFED-AB6ABBA0B894}" sibTransId="{50544993-3F7D-4BC2-BBA9-729906CC5C2A}"/>
    <dgm:cxn modelId="{82F956E9-E989-4433-9AD7-B85F07DCAAED}" type="presOf" srcId="{FD61E3DE-0128-4705-84AB-B015871BB225}" destId="{11AF18E7-A627-47C0-8C45-3A40ACE1B781}" srcOrd="1" destOrd="0" presId="urn:microsoft.com/office/officeart/2005/8/layout/pyramid1"/>
    <dgm:cxn modelId="{DD7337EA-6A72-480C-97D9-3295307D63A7}" type="presOf" srcId="{ED6B6941-AD5C-4C37-8FC9-CF6956F3176A}" destId="{E9163751-0411-4E9A-9FC0-2CDC258CFD57}" srcOrd="0" destOrd="0" presId="urn:microsoft.com/office/officeart/2005/8/layout/pyramid1"/>
    <dgm:cxn modelId="{82DA1401-203F-4511-8F11-333CC852476C}" type="presParOf" srcId="{088A1E1D-A095-46A8-B695-D6DEA9C58EF8}" destId="{2109CA09-FB32-49F6-8368-D5F05085C29C}" srcOrd="0" destOrd="0" presId="urn:microsoft.com/office/officeart/2005/8/layout/pyramid1"/>
    <dgm:cxn modelId="{31C8244C-C116-4824-B286-381AE0A35FAE}" type="presParOf" srcId="{2109CA09-FB32-49F6-8368-D5F05085C29C}" destId="{01702801-A791-4BC8-933A-5BE4B53E6834}" srcOrd="0" destOrd="0" presId="urn:microsoft.com/office/officeart/2005/8/layout/pyramid1"/>
    <dgm:cxn modelId="{8BE1F421-1102-4669-93D9-5F4B28D44B38}" type="presParOf" srcId="{2109CA09-FB32-49F6-8368-D5F05085C29C}" destId="{135A7502-476D-4E2A-99F8-305E836D0BC8}" srcOrd="1" destOrd="0" presId="urn:microsoft.com/office/officeart/2005/8/layout/pyramid1"/>
    <dgm:cxn modelId="{6168ED15-3529-41AF-BA8F-CE5A1C88C497}" type="presParOf" srcId="{088A1E1D-A095-46A8-B695-D6DEA9C58EF8}" destId="{0C952503-18C7-454F-B786-5360EAFAD6B3}" srcOrd="1" destOrd="0" presId="urn:microsoft.com/office/officeart/2005/8/layout/pyramid1"/>
    <dgm:cxn modelId="{4AF8EF10-FB41-4D0E-A983-7D09F2F53387}" type="presParOf" srcId="{0C952503-18C7-454F-B786-5360EAFAD6B3}" destId="{BD3056CF-F1E7-45EF-BC9D-71900391C21D}" srcOrd="0" destOrd="0" presId="urn:microsoft.com/office/officeart/2005/8/layout/pyramid1"/>
    <dgm:cxn modelId="{7EE92396-5E18-4E14-A24B-95900DAA9049}" type="presParOf" srcId="{0C952503-18C7-454F-B786-5360EAFAD6B3}" destId="{11AF18E7-A627-47C0-8C45-3A40ACE1B781}" srcOrd="1" destOrd="0" presId="urn:microsoft.com/office/officeart/2005/8/layout/pyramid1"/>
    <dgm:cxn modelId="{A2D8EE91-3FD8-44FE-8ED5-CECCF5AE98BC}" type="presParOf" srcId="{088A1E1D-A095-46A8-B695-D6DEA9C58EF8}" destId="{04BE712D-D8DA-4057-877E-ECBE60BBD952}" srcOrd="2" destOrd="0" presId="urn:microsoft.com/office/officeart/2005/8/layout/pyramid1"/>
    <dgm:cxn modelId="{94B156BF-68A9-42CE-8360-E653CC64D887}" type="presParOf" srcId="{04BE712D-D8DA-4057-877E-ECBE60BBD952}" destId="{059737BC-8212-4A01-B383-B6C4ED2C8CC1}" srcOrd="0" destOrd="0" presId="urn:microsoft.com/office/officeart/2005/8/layout/pyramid1"/>
    <dgm:cxn modelId="{0DA4D370-8225-48F3-AACC-C76139EFF993}" type="presParOf" srcId="{04BE712D-D8DA-4057-877E-ECBE60BBD952}" destId="{63203DCB-E3B5-4510-A2DC-C96A783F3FB1}" srcOrd="1" destOrd="0" presId="urn:microsoft.com/office/officeart/2005/8/layout/pyramid1"/>
    <dgm:cxn modelId="{AFF4F3FB-4C9B-484B-B0E6-41650C974BC7}" type="presParOf" srcId="{088A1E1D-A095-46A8-B695-D6DEA9C58EF8}" destId="{7D5D0124-CFFC-4D4B-8B91-DE234DB11226}" srcOrd="3" destOrd="0" presId="urn:microsoft.com/office/officeart/2005/8/layout/pyramid1"/>
    <dgm:cxn modelId="{C9D1DC19-1976-430E-8BB7-EB8CBB2B1197}" type="presParOf" srcId="{7D5D0124-CFFC-4D4B-8B91-DE234DB11226}" destId="{AB9788C4-71E2-436B-B92D-86A0EF97192B}" srcOrd="0" destOrd="0" presId="urn:microsoft.com/office/officeart/2005/8/layout/pyramid1"/>
    <dgm:cxn modelId="{CA4182B7-CE53-4926-B915-DF17451C206D}" type="presParOf" srcId="{7D5D0124-CFFC-4D4B-8B91-DE234DB11226}" destId="{296712CF-801B-4EAE-8484-49EE61453340}" srcOrd="1" destOrd="0" presId="urn:microsoft.com/office/officeart/2005/8/layout/pyramid1"/>
    <dgm:cxn modelId="{C9222EFD-787C-4340-B657-61945D85E6A1}" type="presParOf" srcId="{088A1E1D-A095-46A8-B695-D6DEA9C58EF8}" destId="{E15772B3-8110-471F-A7C3-32165E8DE4B4}" srcOrd="4" destOrd="0" presId="urn:microsoft.com/office/officeart/2005/8/layout/pyramid1"/>
    <dgm:cxn modelId="{E3774FCE-730E-416F-9D34-E598491FB35B}" type="presParOf" srcId="{E15772B3-8110-471F-A7C3-32165E8DE4B4}" destId="{70497EFC-356D-4558-B1FA-8B195062705A}" srcOrd="0" destOrd="0" presId="urn:microsoft.com/office/officeart/2005/8/layout/pyramid1"/>
    <dgm:cxn modelId="{132E9D33-8776-47B7-90BA-9360A254FA5E}" type="presParOf" srcId="{E15772B3-8110-471F-A7C3-32165E8DE4B4}" destId="{015DB7EA-9900-4369-957E-0C5DA48989A2}" srcOrd="1" destOrd="0" presId="urn:microsoft.com/office/officeart/2005/8/layout/pyramid1"/>
    <dgm:cxn modelId="{7BE999FE-43FA-4B48-93FE-5CB8437A9189}" type="presParOf" srcId="{088A1E1D-A095-46A8-B695-D6DEA9C58EF8}" destId="{548DF474-25CA-441A-8445-55AEBB3D14F1}" srcOrd="5" destOrd="0" presId="urn:microsoft.com/office/officeart/2005/8/layout/pyramid1"/>
    <dgm:cxn modelId="{04C5B17F-8A25-401C-91AE-523485D04025}" type="presParOf" srcId="{548DF474-25CA-441A-8445-55AEBB3D14F1}" destId="{E9163751-0411-4E9A-9FC0-2CDC258CFD57}" srcOrd="0" destOrd="0" presId="urn:microsoft.com/office/officeart/2005/8/layout/pyramid1"/>
    <dgm:cxn modelId="{5000653D-0A47-48D0-8A74-F70F0846FBCB}" type="presParOf" srcId="{548DF474-25CA-441A-8445-55AEBB3D14F1}" destId="{AD8C8792-1C38-4576-AD3D-FA9CDE66A1E8}" srcOrd="1" destOrd="0" presId="urn:microsoft.com/office/officeart/2005/8/layout/pyramid1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5EEA3B1-BF41-4BA4-B736-E5579F9F124C}">
      <dsp:nvSpPr>
        <dsp:cNvPr id="0" name=""/>
        <dsp:cNvSpPr/>
      </dsp:nvSpPr>
      <dsp:spPr>
        <a:xfrm rot="10800000">
          <a:off x="1719889" y="493"/>
          <a:ext cx="6336287" cy="682895"/>
        </a:xfrm>
        <a:prstGeom prst="homePlate">
          <a:avLst/>
        </a:prstGeom>
        <a:solidFill>
          <a:srgbClr val="B2B2B2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18558" tIns="76200" rIns="142240" bIns="7620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2000" b="1" kern="1200" noProof="0" dirty="0">
              <a:solidFill>
                <a:srgbClr val="3F3F3F"/>
              </a:solidFill>
              <a:latin typeface="Tw Cen MT" panose="020B0602020104020603" pitchFamily="34" charset="-18"/>
              <a:ea typeface="+mn-ea"/>
              <a:cs typeface="+mn-cs"/>
            </a:rPr>
            <a:t>Zajištění vysoké společné úrovně bezpečnosti sítí a IS v EU.</a:t>
          </a:r>
        </a:p>
      </dsp:txBody>
      <dsp:txXfrm rot="10800000">
        <a:off x="1890613" y="493"/>
        <a:ext cx="6165563" cy="682895"/>
      </dsp:txXfrm>
    </dsp:sp>
    <dsp:sp modelId="{C19F4E01-581C-4014-8377-9F295FF09358}">
      <dsp:nvSpPr>
        <dsp:cNvPr id="0" name=""/>
        <dsp:cNvSpPr/>
      </dsp:nvSpPr>
      <dsp:spPr>
        <a:xfrm>
          <a:off x="1472075" y="94127"/>
          <a:ext cx="495627" cy="495627"/>
        </a:xfrm>
        <a:prstGeom prst="ellipse">
          <a:avLst/>
        </a:prstGeom>
        <a:solidFill>
          <a:srgbClr val="0070C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96C4469-DB6D-442E-91ED-D603C9560984}">
      <dsp:nvSpPr>
        <dsp:cNvPr id="0" name=""/>
        <dsp:cNvSpPr/>
      </dsp:nvSpPr>
      <dsp:spPr>
        <a:xfrm rot="10800000">
          <a:off x="1719889" y="826925"/>
          <a:ext cx="6336287" cy="636088"/>
        </a:xfrm>
        <a:prstGeom prst="homePlate">
          <a:avLst/>
        </a:prstGeom>
        <a:solidFill>
          <a:srgbClr val="B2B2B2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18558" tIns="76200" rIns="142240" bIns="7620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2000" b="1" kern="1200" noProof="0" dirty="0">
              <a:solidFill>
                <a:schemeClr val="tx2"/>
              </a:solidFill>
              <a:latin typeface="Tw Cen MT" panose="020B0602020104020603" pitchFamily="34" charset="-18"/>
            </a:rPr>
            <a:t>Zvýšení odolnosti podniků působících v EU (zavedení opatření).</a:t>
          </a:r>
          <a:endParaRPr lang="cs-CZ" sz="2000" b="1" kern="1200" noProof="0" dirty="0">
            <a:solidFill>
              <a:srgbClr val="3F3F3F"/>
            </a:solidFill>
            <a:latin typeface="Tw Cen MT" panose="020B0602020104020603" pitchFamily="34" charset="-18"/>
            <a:ea typeface="+mn-ea"/>
            <a:cs typeface="+mn-cs"/>
          </a:endParaRPr>
        </a:p>
      </dsp:txBody>
      <dsp:txXfrm rot="10800000">
        <a:off x="1878911" y="826925"/>
        <a:ext cx="6177265" cy="636088"/>
      </dsp:txXfrm>
    </dsp:sp>
    <dsp:sp modelId="{BE72C1BE-2B00-4BA3-A9A2-25D1C8033082}">
      <dsp:nvSpPr>
        <dsp:cNvPr id="0" name=""/>
        <dsp:cNvSpPr/>
      </dsp:nvSpPr>
      <dsp:spPr>
        <a:xfrm>
          <a:off x="1472075" y="897156"/>
          <a:ext cx="495627" cy="495627"/>
        </a:xfrm>
        <a:prstGeom prst="ellipse">
          <a:avLst/>
        </a:prstGeom>
        <a:solidFill>
          <a:srgbClr val="00B05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CF3C62A-9C77-4362-8C39-D14492C035B7}">
      <dsp:nvSpPr>
        <dsp:cNvPr id="0" name=""/>
        <dsp:cNvSpPr/>
      </dsp:nvSpPr>
      <dsp:spPr>
        <a:xfrm rot="10800000">
          <a:off x="1719889" y="1606551"/>
          <a:ext cx="6336287" cy="812288"/>
        </a:xfrm>
        <a:prstGeom prst="homePlate">
          <a:avLst/>
        </a:prstGeom>
        <a:solidFill>
          <a:srgbClr val="B2B2B2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18558" tIns="76200" rIns="14224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sk-SK" sz="2000" b="1" kern="1200" noProof="0" dirty="0">
              <a:solidFill>
                <a:srgbClr val="3F3F3F"/>
              </a:solidFill>
              <a:latin typeface="Tw Cen MT" panose="020B0602020104020603" pitchFamily="34" charset="-18"/>
              <a:ea typeface="+mn-ea"/>
              <a:cs typeface="+mn-cs"/>
            </a:rPr>
            <a:t>Lepší a </a:t>
          </a:r>
          <a:r>
            <a:rPr lang="sk-SK" sz="2000" b="1" kern="1200" noProof="0" dirty="0">
              <a:solidFill>
                <a:schemeClr val="tx1"/>
              </a:solidFill>
              <a:latin typeface="Tw Cen MT" panose="020B0602020104020603" pitchFamily="34" charset="-18"/>
              <a:ea typeface="+mn-ea"/>
              <a:cs typeface="+mn-cs"/>
            </a:rPr>
            <a:t>intenzívnejší</a:t>
          </a:r>
          <a:r>
            <a:rPr lang="sk-SK" sz="2000" b="1" kern="1200" noProof="0" dirty="0">
              <a:solidFill>
                <a:srgbClr val="3F3F3F"/>
              </a:solidFill>
              <a:latin typeface="Tw Cen MT" panose="020B0602020104020603" pitchFamily="34" charset="-18"/>
              <a:ea typeface="+mn-ea"/>
              <a:cs typeface="+mn-cs"/>
            </a:rPr>
            <a:t> spolupráce </a:t>
          </a:r>
          <a:r>
            <a:rPr lang="cs-CZ" sz="2000" b="1" kern="1200" noProof="0" dirty="0">
              <a:solidFill>
                <a:srgbClr val="3F3F3F"/>
              </a:solidFill>
              <a:latin typeface="Tw Cen MT" panose="020B0602020104020603" pitchFamily="34" charset="-18"/>
              <a:ea typeface="+mn-ea"/>
              <a:cs typeface="+mn-cs"/>
            </a:rPr>
            <a:t>mezi</a:t>
          </a:r>
          <a:r>
            <a:rPr lang="sk-SK" sz="2000" b="1" kern="1200" noProof="0" dirty="0">
              <a:solidFill>
                <a:srgbClr val="3F3F3F"/>
              </a:solidFill>
              <a:latin typeface="Tw Cen MT" panose="020B0602020104020603" pitchFamily="34" charset="-18"/>
              <a:ea typeface="+mn-ea"/>
              <a:cs typeface="+mn-cs"/>
            </a:rPr>
            <a:t> členskými státy.</a:t>
          </a:r>
          <a:endParaRPr lang="cs-CZ" sz="2000" b="1" kern="1200" noProof="0" dirty="0">
            <a:solidFill>
              <a:srgbClr val="3F3F3F"/>
            </a:solidFill>
            <a:latin typeface="Tw Cen MT" panose="020B0602020104020603" pitchFamily="34" charset="-18"/>
            <a:ea typeface="+mn-ea"/>
            <a:cs typeface="+mn-cs"/>
          </a:endParaRPr>
        </a:p>
      </dsp:txBody>
      <dsp:txXfrm rot="10800000">
        <a:off x="1922961" y="1606551"/>
        <a:ext cx="6133215" cy="812288"/>
      </dsp:txXfrm>
    </dsp:sp>
    <dsp:sp modelId="{5D13F47B-30B0-4B41-B021-234516C395FA}">
      <dsp:nvSpPr>
        <dsp:cNvPr id="0" name=""/>
        <dsp:cNvSpPr/>
      </dsp:nvSpPr>
      <dsp:spPr>
        <a:xfrm>
          <a:off x="1472075" y="1764881"/>
          <a:ext cx="495627" cy="495627"/>
        </a:xfrm>
        <a:prstGeom prst="ellipse">
          <a:avLst/>
        </a:prstGeom>
        <a:solidFill>
          <a:srgbClr val="92D05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991A103-DC97-4B8D-B9D0-C24AB678E88C}">
      <dsp:nvSpPr>
        <dsp:cNvPr id="0" name=""/>
        <dsp:cNvSpPr/>
      </dsp:nvSpPr>
      <dsp:spPr>
        <a:xfrm rot="10800000">
          <a:off x="1719889" y="2562376"/>
          <a:ext cx="6336287" cy="495627"/>
        </a:xfrm>
        <a:prstGeom prst="homePlate">
          <a:avLst/>
        </a:prstGeom>
        <a:solidFill>
          <a:srgbClr val="B2B2B2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18558" tIns="76200" rIns="14224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2000" b="1" kern="1200" noProof="0" dirty="0">
              <a:solidFill>
                <a:schemeClr val="tx2"/>
              </a:solidFill>
              <a:latin typeface="Tw Cen MT" panose="020B0602020104020603" pitchFamily="34" charset="-18"/>
            </a:rPr>
            <a:t>Efektivní řešení </a:t>
          </a:r>
          <a:r>
            <a:rPr lang="cs-CZ" sz="2000" b="1" kern="1200" noProof="0" dirty="0" err="1">
              <a:solidFill>
                <a:schemeClr val="tx2"/>
              </a:solidFill>
              <a:latin typeface="Tw Cen MT" panose="020B0602020104020603" pitchFamily="34" charset="-18"/>
            </a:rPr>
            <a:t>kyber</a:t>
          </a:r>
          <a:r>
            <a:rPr lang="cs-CZ" sz="2000" b="1" kern="1200" noProof="0" dirty="0">
              <a:solidFill>
                <a:schemeClr val="tx2"/>
              </a:solidFill>
              <a:latin typeface="Tw Cen MT" panose="020B0602020104020603" pitchFamily="34" charset="-18"/>
            </a:rPr>
            <a:t>. Incidentu.</a:t>
          </a:r>
        </a:p>
      </dsp:txBody>
      <dsp:txXfrm rot="10800000">
        <a:off x="1843796" y="2562376"/>
        <a:ext cx="6212380" cy="495627"/>
      </dsp:txXfrm>
    </dsp:sp>
    <dsp:sp modelId="{3AC35BCF-6443-4BB3-B467-4BE4B6A959FA}">
      <dsp:nvSpPr>
        <dsp:cNvPr id="0" name=""/>
        <dsp:cNvSpPr/>
      </dsp:nvSpPr>
      <dsp:spPr>
        <a:xfrm>
          <a:off x="1472075" y="2562376"/>
          <a:ext cx="495627" cy="495627"/>
        </a:xfrm>
        <a:prstGeom prst="ellipse">
          <a:avLst/>
        </a:prstGeom>
        <a:solidFill>
          <a:srgbClr val="FFFF0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A58D11B-E6F9-4947-A600-8FC61ED76B2F}">
      <dsp:nvSpPr>
        <dsp:cNvPr id="0" name=""/>
        <dsp:cNvSpPr/>
      </dsp:nvSpPr>
      <dsp:spPr>
        <a:xfrm rot="10800000">
          <a:off x="1750049" y="3201541"/>
          <a:ext cx="6336287" cy="495627"/>
        </a:xfrm>
        <a:prstGeom prst="homePlate">
          <a:avLst/>
        </a:prstGeom>
        <a:solidFill>
          <a:srgbClr val="B2B2B2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18558" tIns="76200" rIns="14224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2000" b="1" kern="1200" noProof="0" dirty="0">
              <a:solidFill>
                <a:schemeClr val="tx2"/>
              </a:solidFill>
              <a:latin typeface="Tw Cen MT" panose="020B0602020104020603" pitchFamily="34" charset="-18"/>
            </a:rPr>
            <a:t>R</a:t>
          </a:r>
          <a:r>
            <a:rPr lang="pt-BR" sz="2000" b="1" kern="1200" noProof="0" dirty="0">
              <a:solidFill>
                <a:schemeClr val="tx2"/>
              </a:solidFill>
              <a:latin typeface="Tw Cen MT" panose="020B0602020104020603" pitchFamily="34" charset="-18"/>
            </a:rPr>
            <a:t>eagování na globální situace </a:t>
          </a:r>
          <a:r>
            <a:rPr lang="cs-CZ" sz="2000" b="1" kern="1200" noProof="0" dirty="0">
              <a:solidFill>
                <a:schemeClr val="tx2"/>
              </a:solidFill>
              <a:latin typeface="Tw Cen MT" panose="020B0602020104020603" pitchFamily="34" charset="-18"/>
            </a:rPr>
            <a:t>a ochrana občanů a ekonomiky. </a:t>
          </a:r>
        </a:p>
      </dsp:txBody>
      <dsp:txXfrm rot="10800000">
        <a:off x="1873956" y="3201541"/>
        <a:ext cx="6212380" cy="495627"/>
      </dsp:txXfrm>
    </dsp:sp>
    <dsp:sp modelId="{AD88CBF5-A4B6-4323-B358-9C79806BB8ED}">
      <dsp:nvSpPr>
        <dsp:cNvPr id="0" name=""/>
        <dsp:cNvSpPr/>
      </dsp:nvSpPr>
      <dsp:spPr>
        <a:xfrm>
          <a:off x="1472075" y="3201541"/>
          <a:ext cx="495627" cy="495627"/>
        </a:xfrm>
        <a:prstGeom prst="ellipse">
          <a:avLst/>
        </a:prstGeom>
        <a:solidFill>
          <a:srgbClr val="FFC00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BAE3201-9F18-4662-B3FC-03A7E2AD7B21}">
      <dsp:nvSpPr>
        <dsp:cNvPr id="0" name=""/>
        <dsp:cNvSpPr/>
      </dsp:nvSpPr>
      <dsp:spPr>
        <a:xfrm>
          <a:off x="1140" y="0"/>
          <a:ext cx="2966180" cy="3975603"/>
        </a:xfrm>
        <a:prstGeom prst="roundRect">
          <a:avLst>
            <a:gd name="adj" fmla="val 10000"/>
          </a:avLst>
        </a:prstGeom>
        <a:solidFill>
          <a:srgbClr val="FFFFFF"/>
        </a:solidFill>
        <a:ln>
          <a:solidFill>
            <a:schemeClr val="bg1"/>
          </a:solidFill>
        </a:ln>
        <a:effectLst/>
        <a:scene3d>
          <a:camera prst="orthographicFront"/>
          <a:lightRig rig="chilly" dir="t"/>
        </a:scene3d>
        <a:sp3d z="-12700" extrusionH="1700" prstMaterial="translucentPowder">
          <a:bevelT w="25400" h="6350" prst="softRound"/>
          <a:bevelB w="0" h="0" prst="convex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0500" tIns="190500" rIns="190500" bIns="190500" numCol="1" spcCol="1270" anchor="ctr" anchorCtr="0">
          <a:noAutofit/>
        </a:bodyPr>
        <a:lstStyle/>
        <a:p>
          <a:pPr marL="0" lvl="0" indent="0" algn="ctr" defTabSz="22225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5000" b="1" i="0" kern="1200" noProof="0" dirty="0">
              <a:solidFill>
                <a:srgbClr val="FF0000"/>
              </a:solidFill>
              <a:latin typeface="+mn-lt"/>
              <a:ea typeface="Ebrima" panose="02000000000000000000" pitchFamily="2" charset="0"/>
              <a:cs typeface="Ebrima" panose="02000000000000000000" pitchFamily="2" charset="0"/>
            </a:rPr>
            <a:t>Procesy</a:t>
          </a:r>
        </a:p>
      </dsp:txBody>
      <dsp:txXfrm>
        <a:off x="1140" y="0"/>
        <a:ext cx="2966180" cy="1192680"/>
      </dsp:txXfrm>
    </dsp:sp>
    <dsp:sp modelId="{AB5F6958-2459-4DD5-B8CA-E87497F23653}">
      <dsp:nvSpPr>
        <dsp:cNvPr id="0" name=""/>
        <dsp:cNvSpPr/>
      </dsp:nvSpPr>
      <dsp:spPr>
        <a:xfrm>
          <a:off x="288314" y="1192875"/>
          <a:ext cx="2372944" cy="381690"/>
        </a:xfrm>
        <a:prstGeom prst="roundRect">
          <a:avLst>
            <a:gd name="adj" fmla="val 10000"/>
          </a:avLst>
        </a:prstGeom>
        <a:solidFill>
          <a:schemeClr val="tx2">
            <a:lumMod val="50000"/>
          </a:schemeClr>
        </a:solid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17145" rIns="22860" bIns="17145" numCol="1" spcCol="1270" anchor="ctr" anchorCtr="0">
          <a:noAutofit/>
        </a:bodyPr>
        <a:lstStyle/>
        <a:p>
          <a:pPr marL="0" lvl="0" indent="0" algn="ctr" defTabSz="4000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900" b="1" i="0" kern="1200" noProof="0" dirty="0">
              <a:solidFill>
                <a:srgbClr val="FFFFFF"/>
              </a:solidFill>
              <a:latin typeface="+mn-lt"/>
              <a:ea typeface="Ebrima" panose="02000000000000000000" pitchFamily="2" charset="0"/>
              <a:cs typeface="Ebrima" panose="02000000000000000000" pitchFamily="2" charset="0"/>
            </a:rPr>
            <a:t>Řízení bezpečnosti informaci</a:t>
          </a:r>
          <a:endParaRPr lang="en-US" sz="900" b="1" i="0" kern="1200" noProof="0" dirty="0">
            <a:solidFill>
              <a:srgbClr val="FFFFFF"/>
            </a:solidFill>
            <a:latin typeface="+mn-lt"/>
            <a:ea typeface="Ebrima" panose="02000000000000000000" pitchFamily="2" charset="0"/>
            <a:cs typeface="Ebrima" panose="02000000000000000000" pitchFamily="2" charset="0"/>
          </a:endParaRPr>
        </a:p>
      </dsp:txBody>
      <dsp:txXfrm>
        <a:off x="299493" y="1204054"/>
        <a:ext cx="2350586" cy="359332"/>
      </dsp:txXfrm>
    </dsp:sp>
    <dsp:sp modelId="{70710E96-8336-46C6-87C7-73A3E1CC7191}">
      <dsp:nvSpPr>
        <dsp:cNvPr id="0" name=""/>
        <dsp:cNvSpPr/>
      </dsp:nvSpPr>
      <dsp:spPr>
        <a:xfrm>
          <a:off x="288314" y="1633287"/>
          <a:ext cx="2372944" cy="381690"/>
        </a:xfrm>
        <a:prstGeom prst="roundRect">
          <a:avLst>
            <a:gd name="adj" fmla="val 10000"/>
          </a:avLst>
        </a:prstGeom>
        <a:solidFill>
          <a:schemeClr val="tx2">
            <a:lumMod val="50000"/>
          </a:schemeClr>
        </a:solid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17145" rIns="22860" bIns="17145" numCol="1" spcCol="1270" anchor="ctr" anchorCtr="0">
          <a:noAutofit/>
        </a:bodyPr>
        <a:lstStyle/>
        <a:p>
          <a:pPr marL="0" lvl="0" indent="0" algn="ctr" defTabSz="4000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900" b="1" i="0" kern="1200" noProof="0" dirty="0">
              <a:solidFill>
                <a:srgbClr val="FFFFFF"/>
              </a:solidFill>
              <a:latin typeface="+mn-lt"/>
              <a:ea typeface="Ebrima" panose="02000000000000000000" pitchFamily="2" charset="0"/>
              <a:cs typeface="Ebrima" panose="02000000000000000000" pitchFamily="2" charset="0"/>
            </a:rPr>
            <a:t>Organizační bezpečnost (role)</a:t>
          </a:r>
        </a:p>
      </dsp:txBody>
      <dsp:txXfrm>
        <a:off x="299493" y="1644466"/>
        <a:ext cx="2350586" cy="359332"/>
      </dsp:txXfrm>
    </dsp:sp>
    <dsp:sp modelId="{3369783A-95A8-4EC8-B7E3-BB1FF0B38BDF}">
      <dsp:nvSpPr>
        <dsp:cNvPr id="0" name=""/>
        <dsp:cNvSpPr/>
      </dsp:nvSpPr>
      <dsp:spPr>
        <a:xfrm>
          <a:off x="288314" y="2073700"/>
          <a:ext cx="2372944" cy="381690"/>
        </a:xfrm>
        <a:prstGeom prst="roundRect">
          <a:avLst>
            <a:gd name="adj" fmla="val 10000"/>
          </a:avLst>
        </a:prstGeom>
        <a:solidFill>
          <a:schemeClr val="tx2">
            <a:lumMod val="50000"/>
          </a:schemeClr>
        </a:solid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17145" rIns="22860" bIns="17145" numCol="1" spcCol="1270" anchor="ctr" anchorCtr="0">
          <a:noAutofit/>
        </a:bodyPr>
        <a:lstStyle/>
        <a:p>
          <a:pPr marL="0" lvl="0" indent="0" algn="ctr" defTabSz="4000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900" b="1" i="0" kern="1200" noProof="0" dirty="0">
              <a:solidFill>
                <a:srgbClr val="FFFFFF"/>
              </a:solidFill>
              <a:latin typeface="+mn-lt"/>
              <a:ea typeface="Ebrima" panose="02000000000000000000" pitchFamily="2" charset="0"/>
              <a:cs typeface="Ebrima" panose="02000000000000000000" pitchFamily="2" charset="0"/>
            </a:rPr>
            <a:t>Řízení dodavatelů, zdrojů, provozu</a:t>
          </a:r>
        </a:p>
      </dsp:txBody>
      <dsp:txXfrm>
        <a:off x="299493" y="2084879"/>
        <a:ext cx="2350586" cy="359332"/>
      </dsp:txXfrm>
    </dsp:sp>
    <dsp:sp modelId="{0A573155-5BCF-4ACD-AB2F-16FE7EF4BD5D}">
      <dsp:nvSpPr>
        <dsp:cNvPr id="0" name=""/>
        <dsp:cNvSpPr/>
      </dsp:nvSpPr>
      <dsp:spPr>
        <a:xfrm>
          <a:off x="297758" y="2514112"/>
          <a:ext cx="2372944" cy="381690"/>
        </a:xfrm>
        <a:prstGeom prst="roundRect">
          <a:avLst>
            <a:gd name="adj" fmla="val 10000"/>
          </a:avLst>
        </a:prstGeom>
        <a:solidFill>
          <a:schemeClr val="tx2">
            <a:lumMod val="50000"/>
          </a:schemeClr>
        </a:solid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17145" rIns="22860" bIns="17145" numCol="1" spcCol="1270" anchor="ctr" anchorCtr="0">
          <a:noAutofit/>
        </a:bodyPr>
        <a:lstStyle/>
        <a:p>
          <a:pPr marL="0" lvl="0" indent="0" algn="ctr" defTabSz="4000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900" b="1" i="0" kern="1200" noProof="0" dirty="0">
              <a:solidFill>
                <a:srgbClr val="FFFFFF"/>
              </a:solidFill>
              <a:latin typeface="+mn-lt"/>
              <a:ea typeface="Ebrima" panose="02000000000000000000" pitchFamily="2" charset="0"/>
              <a:cs typeface="Ebrima" panose="02000000000000000000" pitchFamily="2" charset="0"/>
            </a:rPr>
            <a:t>Řízení přístupů</a:t>
          </a:r>
        </a:p>
      </dsp:txBody>
      <dsp:txXfrm>
        <a:off x="308937" y="2525291"/>
        <a:ext cx="2350586" cy="359332"/>
      </dsp:txXfrm>
    </dsp:sp>
    <dsp:sp modelId="{625D4F7D-3206-4B64-9401-2E3B2E33EF1A}">
      <dsp:nvSpPr>
        <dsp:cNvPr id="0" name=""/>
        <dsp:cNvSpPr/>
      </dsp:nvSpPr>
      <dsp:spPr>
        <a:xfrm>
          <a:off x="297758" y="2954525"/>
          <a:ext cx="2372944" cy="381690"/>
        </a:xfrm>
        <a:prstGeom prst="roundRect">
          <a:avLst>
            <a:gd name="adj" fmla="val 10000"/>
          </a:avLst>
        </a:prstGeom>
        <a:solidFill>
          <a:schemeClr val="tx2">
            <a:lumMod val="50000"/>
          </a:schemeClr>
        </a:solid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17145" rIns="22860" bIns="17145" numCol="1" spcCol="1270" anchor="ctr" anchorCtr="0">
          <a:noAutofit/>
        </a:bodyPr>
        <a:lstStyle/>
        <a:p>
          <a:pPr marL="0" lvl="0" indent="0" algn="ctr" defTabSz="4000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900" b="1" i="0" kern="1200" noProof="0" dirty="0">
              <a:solidFill>
                <a:srgbClr val="FFFFFF"/>
              </a:solidFill>
              <a:latin typeface="+mn-lt"/>
              <a:ea typeface="Ebrima" panose="02000000000000000000" pitchFamily="2" charset="0"/>
              <a:cs typeface="Ebrima" panose="02000000000000000000" pitchFamily="2" charset="0"/>
            </a:rPr>
            <a:t>Řízení kontinuity činnosti </a:t>
          </a:r>
        </a:p>
      </dsp:txBody>
      <dsp:txXfrm>
        <a:off x="308937" y="2965704"/>
        <a:ext cx="2350586" cy="359332"/>
      </dsp:txXfrm>
    </dsp:sp>
    <dsp:sp modelId="{D48D90A8-40B9-4185-ADD4-DB4256DD7818}">
      <dsp:nvSpPr>
        <dsp:cNvPr id="0" name=""/>
        <dsp:cNvSpPr/>
      </dsp:nvSpPr>
      <dsp:spPr>
        <a:xfrm>
          <a:off x="297758" y="3394937"/>
          <a:ext cx="2372944" cy="381690"/>
        </a:xfrm>
        <a:prstGeom prst="roundRect">
          <a:avLst>
            <a:gd name="adj" fmla="val 10000"/>
          </a:avLst>
        </a:prstGeom>
        <a:solidFill>
          <a:schemeClr val="tx2">
            <a:lumMod val="50000"/>
          </a:schemeClr>
        </a:solid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17145" rIns="22860" bIns="17145" numCol="1" spcCol="1270" anchor="ctr" anchorCtr="0">
          <a:noAutofit/>
        </a:bodyPr>
        <a:lstStyle/>
        <a:p>
          <a:pPr marL="0" lvl="0" indent="0" algn="ctr" defTabSz="4000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900" b="1" i="0" kern="1200" noProof="0" dirty="0">
              <a:solidFill>
                <a:srgbClr val="FFFFFF"/>
              </a:solidFill>
              <a:latin typeface="+mn-lt"/>
              <a:ea typeface="Ebrima" panose="02000000000000000000" pitchFamily="2" charset="0"/>
              <a:cs typeface="Ebrima" panose="02000000000000000000" pitchFamily="2" charset="0"/>
            </a:rPr>
            <a:t>Zvládání bezpečnostních událostí a incidentu</a:t>
          </a:r>
        </a:p>
      </dsp:txBody>
      <dsp:txXfrm>
        <a:off x="308937" y="3406116"/>
        <a:ext cx="2350586" cy="359332"/>
      </dsp:txXfrm>
    </dsp:sp>
    <dsp:sp modelId="{E7564195-B13F-4D5F-983C-BC18B767712A}">
      <dsp:nvSpPr>
        <dsp:cNvPr id="0" name=""/>
        <dsp:cNvSpPr/>
      </dsp:nvSpPr>
      <dsp:spPr>
        <a:xfrm>
          <a:off x="3189784" y="0"/>
          <a:ext cx="2966180" cy="3975603"/>
        </a:xfrm>
        <a:prstGeom prst="roundRect">
          <a:avLst>
            <a:gd name="adj" fmla="val 10000"/>
          </a:avLst>
        </a:prstGeom>
        <a:solidFill>
          <a:srgbClr val="FFFFFF"/>
        </a:solidFill>
        <a:ln>
          <a:solidFill>
            <a:schemeClr val="bg1"/>
          </a:solidFill>
        </a:ln>
        <a:effectLst/>
        <a:scene3d>
          <a:camera prst="orthographicFront"/>
          <a:lightRig rig="chilly" dir="t"/>
        </a:scene3d>
        <a:sp3d z="-12700" extrusionH="1700" prstMaterial="translucentPowder">
          <a:bevelT w="25400" h="6350" prst="softRound"/>
          <a:bevelB w="0" h="0" prst="convex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0500" tIns="190500" rIns="190500" bIns="190500" numCol="1" spcCol="1270" anchor="ctr" anchorCtr="0">
          <a:noAutofit/>
        </a:bodyPr>
        <a:lstStyle/>
        <a:p>
          <a:pPr marL="0" lvl="0" indent="0" algn="ctr" defTabSz="22225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5000" b="1" i="0" kern="1200" noProof="0" dirty="0">
              <a:solidFill>
                <a:srgbClr val="FF0000"/>
              </a:solidFill>
              <a:latin typeface="+mn-lt"/>
              <a:ea typeface="Ebrima" panose="02000000000000000000" pitchFamily="2" charset="0"/>
              <a:cs typeface="Ebrima" panose="02000000000000000000" pitchFamily="2" charset="0"/>
            </a:rPr>
            <a:t>Nástroje</a:t>
          </a:r>
        </a:p>
      </dsp:txBody>
      <dsp:txXfrm>
        <a:off x="3189784" y="0"/>
        <a:ext cx="2966180" cy="1192680"/>
      </dsp:txXfrm>
    </dsp:sp>
    <dsp:sp modelId="{93FE7F8B-D97A-4D05-A29F-28CECBC04D06}">
      <dsp:nvSpPr>
        <dsp:cNvPr id="0" name=""/>
        <dsp:cNvSpPr/>
      </dsp:nvSpPr>
      <dsp:spPr>
        <a:xfrm>
          <a:off x="3486402" y="1195107"/>
          <a:ext cx="2372944" cy="325541"/>
        </a:xfrm>
        <a:prstGeom prst="roundRect">
          <a:avLst>
            <a:gd name="adj" fmla="val 10000"/>
          </a:avLst>
        </a:prstGeom>
        <a:solidFill>
          <a:schemeClr val="tx2">
            <a:lumMod val="50000"/>
          </a:schemeClr>
        </a:solid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17145" rIns="22860" bIns="17145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900" b="1" i="0" kern="1200" dirty="0">
              <a:solidFill>
                <a:srgbClr val="FFFFFF"/>
              </a:solidFill>
              <a:latin typeface="+mn-lt"/>
              <a:ea typeface="Ebrima" panose="02000000000000000000" pitchFamily="2" charset="0"/>
              <a:cs typeface="Ebrima" panose="02000000000000000000" pitchFamily="2" charset="0"/>
            </a:rPr>
            <a:t>Fyzická bezpečnost</a:t>
          </a:r>
        </a:p>
      </dsp:txBody>
      <dsp:txXfrm>
        <a:off x="3495937" y="1204642"/>
        <a:ext cx="2353874" cy="306471"/>
      </dsp:txXfrm>
    </dsp:sp>
    <dsp:sp modelId="{622AF4A0-2B22-42B8-9B02-FD64E9B3A403}">
      <dsp:nvSpPr>
        <dsp:cNvPr id="0" name=""/>
        <dsp:cNvSpPr/>
      </dsp:nvSpPr>
      <dsp:spPr>
        <a:xfrm>
          <a:off x="3486402" y="1570732"/>
          <a:ext cx="2372944" cy="325541"/>
        </a:xfrm>
        <a:prstGeom prst="roundRect">
          <a:avLst>
            <a:gd name="adj" fmla="val 10000"/>
          </a:avLst>
        </a:prstGeom>
        <a:solidFill>
          <a:schemeClr val="tx2">
            <a:lumMod val="50000"/>
          </a:schemeClr>
        </a:solid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17145" rIns="22860" bIns="17145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Arial" panose="020B0604020202020204" pitchFamily="34" charset="0"/>
            <a:buNone/>
          </a:pPr>
          <a:r>
            <a:rPr lang="cs-CZ" sz="900" b="1" i="0" kern="1200" dirty="0">
              <a:solidFill>
                <a:srgbClr val="FFFFFF"/>
              </a:solidFill>
              <a:latin typeface="+mn-lt"/>
            </a:rPr>
            <a:t>Bezpečnost komunikačních sítí.</a:t>
          </a:r>
          <a:endParaRPr lang="cs-CZ" sz="900" b="1" i="0" kern="1200" noProof="0" dirty="0">
            <a:solidFill>
              <a:srgbClr val="FFFFFF"/>
            </a:solidFill>
            <a:latin typeface="+mn-lt"/>
            <a:ea typeface="Ebrima" panose="02000000000000000000" pitchFamily="2" charset="0"/>
            <a:cs typeface="Ebrima" panose="02000000000000000000" pitchFamily="2" charset="0"/>
          </a:endParaRPr>
        </a:p>
      </dsp:txBody>
      <dsp:txXfrm>
        <a:off x="3495937" y="1580267"/>
        <a:ext cx="2353874" cy="306471"/>
      </dsp:txXfrm>
    </dsp:sp>
    <dsp:sp modelId="{2C6F2F0D-C809-46A3-B29A-D5015E30C177}">
      <dsp:nvSpPr>
        <dsp:cNvPr id="0" name=""/>
        <dsp:cNvSpPr/>
      </dsp:nvSpPr>
      <dsp:spPr>
        <a:xfrm>
          <a:off x="3486402" y="1946356"/>
          <a:ext cx="2372944" cy="325541"/>
        </a:xfrm>
        <a:prstGeom prst="roundRect">
          <a:avLst>
            <a:gd name="adj" fmla="val 10000"/>
          </a:avLst>
        </a:prstGeom>
        <a:solidFill>
          <a:schemeClr val="tx2">
            <a:lumMod val="50000"/>
          </a:schemeClr>
        </a:solid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17145" rIns="22860" bIns="17145" numCol="1" spcCol="1270" anchor="ctr" anchorCtr="0">
          <a:noAutofit/>
        </a:bodyPr>
        <a:lstStyle/>
        <a:p>
          <a:pPr marL="0" lvl="0" indent="0" algn="ctr" defTabSz="4000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900" b="1" i="0" kern="1200" noProof="0" dirty="0">
              <a:solidFill>
                <a:srgbClr val="FFFFFF"/>
              </a:solidFill>
              <a:latin typeface="+mn-lt"/>
              <a:ea typeface="Ebrima" panose="02000000000000000000" pitchFamily="2" charset="0"/>
              <a:cs typeface="Ebrima" panose="02000000000000000000" pitchFamily="2" charset="0"/>
            </a:rPr>
            <a:t>Správa a ověření identit</a:t>
          </a:r>
          <a:endParaRPr lang="en-US" sz="900" b="1" i="0" kern="1200" noProof="0" dirty="0">
            <a:solidFill>
              <a:srgbClr val="FFFFFF"/>
            </a:solidFill>
            <a:latin typeface="+mn-lt"/>
            <a:ea typeface="Ebrima" panose="02000000000000000000" pitchFamily="2" charset="0"/>
            <a:cs typeface="Ebrima" panose="02000000000000000000" pitchFamily="2" charset="0"/>
          </a:endParaRPr>
        </a:p>
      </dsp:txBody>
      <dsp:txXfrm>
        <a:off x="3495937" y="1955891"/>
        <a:ext cx="2353874" cy="306471"/>
      </dsp:txXfrm>
    </dsp:sp>
    <dsp:sp modelId="{72723580-1BB1-44BA-B3E5-DE9414412DA5}">
      <dsp:nvSpPr>
        <dsp:cNvPr id="0" name=""/>
        <dsp:cNvSpPr/>
      </dsp:nvSpPr>
      <dsp:spPr>
        <a:xfrm>
          <a:off x="3486402" y="2321981"/>
          <a:ext cx="2372944" cy="325541"/>
        </a:xfrm>
        <a:prstGeom prst="roundRect">
          <a:avLst>
            <a:gd name="adj" fmla="val 10000"/>
          </a:avLst>
        </a:prstGeom>
        <a:solidFill>
          <a:schemeClr val="tx2">
            <a:lumMod val="50000"/>
          </a:schemeClr>
        </a:solid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17145" rIns="22860" bIns="17145" numCol="1" spcCol="1270" anchor="ctr" anchorCtr="0">
          <a:noAutofit/>
        </a:bodyPr>
        <a:lstStyle/>
        <a:p>
          <a:pPr marL="0" lvl="0" indent="0" algn="ctr" defTabSz="4000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900" b="1" i="0" kern="1200" noProof="0" dirty="0">
              <a:solidFill>
                <a:srgbClr val="FFFFFF"/>
              </a:solidFill>
              <a:latin typeface="+mn-lt"/>
              <a:ea typeface="Ebrima" panose="02000000000000000000" pitchFamily="2" charset="0"/>
              <a:cs typeface="Ebrima" panose="02000000000000000000" pitchFamily="2" charset="0"/>
            </a:rPr>
            <a:t>Ochrana před škodlivým kódem</a:t>
          </a:r>
          <a:endParaRPr lang="en-US" sz="900" b="1" i="0" kern="1200" noProof="0" dirty="0">
            <a:solidFill>
              <a:srgbClr val="FFFFFF"/>
            </a:solidFill>
            <a:latin typeface="+mn-lt"/>
            <a:ea typeface="Ebrima" panose="02000000000000000000" pitchFamily="2" charset="0"/>
            <a:cs typeface="Ebrima" panose="02000000000000000000" pitchFamily="2" charset="0"/>
          </a:endParaRPr>
        </a:p>
      </dsp:txBody>
      <dsp:txXfrm>
        <a:off x="3495937" y="2331516"/>
        <a:ext cx="2353874" cy="306471"/>
      </dsp:txXfrm>
    </dsp:sp>
    <dsp:sp modelId="{EC0E4679-DF4B-4839-9335-EE4E137FF4A7}">
      <dsp:nvSpPr>
        <dsp:cNvPr id="0" name=""/>
        <dsp:cNvSpPr/>
      </dsp:nvSpPr>
      <dsp:spPr>
        <a:xfrm>
          <a:off x="3486402" y="2697605"/>
          <a:ext cx="2372944" cy="325541"/>
        </a:xfrm>
        <a:prstGeom prst="roundRect">
          <a:avLst>
            <a:gd name="adj" fmla="val 10000"/>
          </a:avLst>
        </a:prstGeom>
        <a:solidFill>
          <a:schemeClr val="tx2">
            <a:lumMod val="50000"/>
          </a:schemeClr>
        </a:solid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17145" rIns="22860" bIns="17145" numCol="1" spcCol="1270" anchor="ctr" anchorCtr="0">
          <a:noAutofit/>
        </a:bodyPr>
        <a:lstStyle/>
        <a:p>
          <a:pPr marL="0" lvl="0" indent="0" algn="ctr" defTabSz="4000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900" b="1" i="0" kern="1200" noProof="0" dirty="0">
              <a:solidFill>
                <a:srgbClr val="FFFFFF"/>
              </a:solidFill>
              <a:latin typeface="+mn-lt"/>
              <a:ea typeface="Ebrima" panose="02000000000000000000" pitchFamily="2" charset="0"/>
              <a:cs typeface="Ebrima" panose="02000000000000000000" pitchFamily="2" charset="0"/>
            </a:rPr>
            <a:t>Záznam událostí ICT, sběr a vyhodnocení</a:t>
          </a:r>
        </a:p>
      </dsp:txBody>
      <dsp:txXfrm>
        <a:off x="3495937" y="2707140"/>
        <a:ext cx="2353874" cy="306471"/>
      </dsp:txXfrm>
    </dsp:sp>
    <dsp:sp modelId="{52B3ADAF-1D5E-422C-A4E3-FE394C723AF2}">
      <dsp:nvSpPr>
        <dsp:cNvPr id="0" name=""/>
        <dsp:cNvSpPr/>
      </dsp:nvSpPr>
      <dsp:spPr>
        <a:xfrm>
          <a:off x="3486402" y="3073230"/>
          <a:ext cx="2372944" cy="325541"/>
        </a:xfrm>
        <a:prstGeom prst="roundRect">
          <a:avLst>
            <a:gd name="adj" fmla="val 10000"/>
          </a:avLst>
        </a:prstGeom>
        <a:solidFill>
          <a:schemeClr val="tx2">
            <a:lumMod val="50000"/>
          </a:schemeClr>
        </a:solid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17145" rIns="22860" bIns="17145" numCol="1" spcCol="1270" anchor="ctr" anchorCtr="0">
          <a:noAutofit/>
        </a:bodyPr>
        <a:lstStyle/>
        <a:p>
          <a:pPr marL="0" lvl="0" indent="0" algn="ctr" defTabSz="4000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900" b="1" i="0" kern="1200" noProof="0" dirty="0">
              <a:solidFill>
                <a:srgbClr val="FFFFFF"/>
              </a:solidFill>
              <a:latin typeface="+mn-lt"/>
              <a:ea typeface="Ebrima" panose="02000000000000000000" pitchFamily="2" charset="0"/>
              <a:cs typeface="Ebrima" panose="02000000000000000000" pitchFamily="2" charset="0"/>
            </a:rPr>
            <a:t>Detekce kybernetických bez. událostí</a:t>
          </a:r>
        </a:p>
      </dsp:txBody>
      <dsp:txXfrm>
        <a:off x="3495937" y="3082765"/>
        <a:ext cx="2353874" cy="306471"/>
      </dsp:txXfrm>
    </dsp:sp>
    <dsp:sp modelId="{F420B201-4211-41B5-8B8D-A07329D2E300}">
      <dsp:nvSpPr>
        <dsp:cNvPr id="0" name=""/>
        <dsp:cNvSpPr/>
      </dsp:nvSpPr>
      <dsp:spPr>
        <a:xfrm>
          <a:off x="3486402" y="3448855"/>
          <a:ext cx="2372944" cy="325541"/>
        </a:xfrm>
        <a:prstGeom prst="roundRect">
          <a:avLst>
            <a:gd name="adj" fmla="val 10000"/>
          </a:avLst>
        </a:prstGeom>
        <a:solidFill>
          <a:schemeClr val="tx2">
            <a:lumMod val="50000"/>
          </a:schemeClr>
        </a:solid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17145" rIns="22860" bIns="17145" numCol="1" spcCol="1270" anchor="ctr" anchorCtr="0">
          <a:noAutofit/>
        </a:bodyPr>
        <a:lstStyle/>
        <a:p>
          <a:pPr marL="0" lvl="0" indent="0" algn="ctr" defTabSz="4000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900" b="1" i="0" kern="1200" noProof="0" dirty="0">
              <a:solidFill>
                <a:srgbClr val="FFFFFF"/>
              </a:solidFill>
              <a:latin typeface="+mn-lt"/>
              <a:ea typeface="Ebrima" panose="02000000000000000000" pitchFamily="2" charset="0"/>
              <a:cs typeface="Ebrima" panose="02000000000000000000" pitchFamily="2" charset="0"/>
            </a:rPr>
            <a:t>Kryptografické prostředky</a:t>
          </a:r>
        </a:p>
      </dsp:txBody>
      <dsp:txXfrm>
        <a:off x="3495937" y="3458390"/>
        <a:ext cx="2353874" cy="306471"/>
      </dsp:txXfrm>
    </dsp:sp>
    <dsp:sp modelId="{CDE36B7A-A8A1-4FAE-B981-22EC07E4F40C}">
      <dsp:nvSpPr>
        <dsp:cNvPr id="0" name=""/>
        <dsp:cNvSpPr/>
      </dsp:nvSpPr>
      <dsp:spPr>
        <a:xfrm>
          <a:off x="6378428" y="0"/>
          <a:ext cx="2966180" cy="3975603"/>
        </a:xfrm>
        <a:prstGeom prst="roundRect">
          <a:avLst>
            <a:gd name="adj" fmla="val 10000"/>
          </a:avLst>
        </a:prstGeom>
        <a:solidFill>
          <a:srgbClr val="FFFFFF"/>
        </a:solidFill>
        <a:ln>
          <a:solidFill>
            <a:schemeClr val="tx1"/>
          </a:solidFill>
        </a:ln>
        <a:effectLst/>
        <a:scene3d>
          <a:camera prst="orthographicFront"/>
          <a:lightRig rig="chilly" dir="t"/>
        </a:scene3d>
        <a:sp3d z="-12700" extrusionH="1700" prstMaterial="translucentPowder">
          <a:bevelT w="25400" h="6350" prst="softRound"/>
          <a:bevelB w="0" h="0" prst="convex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0500" tIns="190500" rIns="190500" bIns="190500" numCol="1" spcCol="1270" anchor="ctr" anchorCtr="0">
          <a:noAutofit/>
        </a:bodyPr>
        <a:lstStyle/>
        <a:p>
          <a:pPr marL="0" lvl="0" indent="0" algn="ctr" defTabSz="22225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5000" b="1" i="0" kern="1200" noProof="0" dirty="0">
              <a:solidFill>
                <a:srgbClr val="FF0000"/>
              </a:solidFill>
              <a:latin typeface="+mn-lt"/>
              <a:ea typeface="Ebrima" panose="02000000000000000000" pitchFamily="2" charset="0"/>
              <a:cs typeface="Ebrima" panose="02000000000000000000" pitchFamily="2" charset="0"/>
            </a:rPr>
            <a:t>Lidé</a:t>
          </a:r>
        </a:p>
      </dsp:txBody>
      <dsp:txXfrm>
        <a:off x="6378428" y="0"/>
        <a:ext cx="2966180" cy="1192680"/>
      </dsp:txXfrm>
    </dsp:sp>
    <dsp:sp modelId="{CA0AC264-2BA3-4CDE-945B-BC8780486C3A}">
      <dsp:nvSpPr>
        <dsp:cNvPr id="0" name=""/>
        <dsp:cNvSpPr/>
      </dsp:nvSpPr>
      <dsp:spPr>
        <a:xfrm>
          <a:off x="6675046" y="1193020"/>
          <a:ext cx="2372944" cy="781046"/>
        </a:xfrm>
        <a:prstGeom prst="roundRect">
          <a:avLst>
            <a:gd name="adj" fmla="val 10000"/>
          </a:avLst>
        </a:prstGeom>
        <a:solidFill>
          <a:schemeClr val="tx2">
            <a:lumMod val="50000"/>
          </a:schemeClr>
        </a:solid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17145" rIns="22860" bIns="17145" numCol="1" spcCol="1270" anchor="ctr" anchorCtr="0">
          <a:noAutofit/>
        </a:bodyPr>
        <a:lstStyle/>
        <a:p>
          <a:pPr marL="0" lvl="0" indent="0" algn="ctr" defTabSz="4000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900" b="1" i="0" kern="1200" noProof="0" dirty="0">
              <a:solidFill>
                <a:srgbClr val="FFFFFF"/>
              </a:solidFill>
              <a:latin typeface="+mn-lt"/>
              <a:ea typeface="Ebrima" panose="02000000000000000000" pitchFamily="2" charset="0"/>
              <a:cs typeface="Ebrima" panose="02000000000000000000" pitchFamily="2" charset="0"/>
            </a:rPr>
            <a:t>Manažerské zajištění (odpovědnost)</a:t>
          </a:r>
        </a:p>
      </dsp:txBody>
      <dsp:txXfrm>
        <a:off x="6697922" y="1215896"/>
        <a:ext cx="2327192" cy="735294"/>
      </dsp:txXfrm>
    </dsp:sp>
    <dsp:sp modelId="{7CFBA7B4-9CC5-40DE-B794-0DBEA51274B9}">
      <dsp:nvSpPr>
        <dsp:cNvPr id="0" name=""/>
        <dsp:cNvSpPr/>
      </dsp:nvSpPr>
      <dsp:spPr>
        <a:xfrm>
          <a:off x="6675046" y="2094228"/>
          <a:ext cx="2372944" cy="781046"/>
        </a:xfrm>
        <a:prstGeom prst="roundRect">
          <a:avLst>
            <a:gd name="adj" fmla="val 10000"/>
          </a:avLst>
        </a:prstGeom>
        <a:solidFill>
          <a:schemeClr val="tx2">
            <a:lumMod val="50000"/>
          </a:schemeClr>
        </a:solid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17145" rIns="22860" bIns="17145" numCol="1" spcCol="1270" anchor="ctr" anchorCtr="0">
          <a:noAutofit/>
        </a:bodyPr>
        <a:lstStyle/>
        <a:p>
          <a:pPr marL="0" lvl="0" indent="0" algn="ctr" defTabSz="4000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900" b="1" i="0" kern="1200" noProof="0" dirty="0">
              <a:solidFill>
                <a:srgbClr val="FFFFFF"/>
              </a:solidFill>
              <a:latin typeface="+mn-lt"/>
              <a:ea typeface="Ebrima" panose="02000000000000000000" pitchFamily="2" charset="0"/>
              <a:cs typeface="Ebrima" panose="02000000000000000000" pitchFamily="2" charset="0"/>
            </a:rPr>
            <a:t>Interní zdroje </a:t>
          </a:r>
        </a:p>
        <a:p>
          <a:pPr marL="0" lvl="0" indent="0" algn="ctr" defTabSz="4000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900" b="1" i="0" kern="1200" noProof="0" dirty="0">
              <a:solidFill>
                <a:srgbClr val="FFFFFF"/>
              </a:solidFill>
              <a:latin typeface="+mn-lt"/>
              <a:ea typeface="Ebrima" panose="02000000000000000000" pitchFamily="2" charset="0"/>
              <a:cs typeface="Ebrima" panose="02000000000000000000" pitchFamily="2" charset="0"/>
            </a:rPr>
            <a:t>(oddělení ICT)</a:t>
          </a:r>
        </a:p>
      </dsp:txBody>
      <dsp:txXfrm>
        <a:off x="6697922" y="2117104"/>
        <a:ext cx="2327192" cy="735294"/>
      </dsp:txXfrm>
    </dsp:sp>
    <dsp:sp modelId="{946E1D8A-6D56-4A8E-9690-2812E20C79B0}">
      <dsp:nvSpPr>
        <dsp:cNvPr id="0" name=""/>
        <dsp:cNvSpPr/>
      </dsp:nvSpPr>
      <dsp:spPr>
        <a:xfrm>
          <a:off x="6675046" y="2995436"/>
          <a:ext cx="2372944" cy="781046"/>
        </a:xfrm>
        <a:prstGeom prst="roundRect">
          <a:avLst>
            <a:gd name="adj" fmla="val 10000"/>
          </a:avLst>
        </a:prstGeom>
        <a:solidFill>
          <a:schemeClr val="tx2">
            <a:lumMod val="50000"/>
          </a:schemeClr>
        </a:solid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17145" rIns="22860" bIns="17145" numCol="1" spcCol="1270" anchor="ctr" anchorCtr="0">
          <a:noAutofit/>
        </a:bodyPr>
        <a:lstStyle/>
        <a:p>
          <a:pPr marL="0" lvl="0" indent="0" algn="ctr" defTabSz="4000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900" b="1" i="0" kern="1200" noProof="0" dirty="0">
              <a:solidFill>
                <a:srgbClr val="FFFFFF"/>
              </a:solidFill>
              <a:latin typeface="+mn-lt"/>
              <a:ea typeface="Ebrima" panose="02000000000000000000" pitchFamily="2" charset="0"/>
              <a:cs typeface="Ebrima" panose="02000000000000000000" pitchFamily="2" charset="0"/>
            </a:rPr>
            <a:t>Externí zdroje </a:t>
          </a:r>
        </a:p>
        <a:p>
          <a:pPr marL="0" lvl="0" indent="0" algn="ctr" defTabSz="4000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900" b="1" i="0" kern="1200" noProof="0" dirty="0">
              <a:solidFill>
                <a:srgbClr val="FFFFFF"/>
              </a:solidFill>
              <a:latin typeface="+mn-lt"/>
              <a:ea typeface="Ebrima" panose="02000000000000000000" pitchFamily="2" charset="0"/>
              <a:cs typeface="Ebrima" panose="02000000000000000000" pitchFamily="2" charset="0"/>
            </a:rPr>
            <a:t>(konzultanti, služby SOC)</a:t>
          </a:r>
        </a:p>
      </dsp:txBody>
      <dsp:txXfrm>
        <a:off x="6697922" y="3018312"/>
        <a:ext cx="2327192" cy="735294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1702801-A791-4BC8-933A-5BE4B53E6834}">
      <dsp:nvSpPr>
        <dsp:cNvPr id="0" name=""/>
        <dsp:cNvSpPr/>
      </dsp:nvSpPr>
      <dsp:spPr>
        <a:xfrm>
          <a:off x="3805664" y="0"/>
          <a:ext cx="1415300" cy="848686"/>
        </a:xfrm>
        <a:prstGeom prst="trapezoid">
          <a:avLst>
            <a:gd name="adj" fmla="val 88633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200" b="1" kern="1200" dirty="0">
              <a:solidFill>
                <a:schemeClr val="tx2"/>
              </a:solidFill>
              <a:latin typeface="+mn-lt"/>
            </a:rPr>
            <a:t>Zajištění minimální bezpečnosti</a:t>
          </a:r>
        </a:p>
      </dsp:txBody>
      <dsp:txXfrm>
        <a:off x="3805664" y="0"/>
        <a:ext cx="1415300" cy="848686"/>
      </dsp:txXfrm>
    </dsp:sp>
    <dsp:sp modelId="{BD3056CF-F1E7-45EF-BC9D-71900391C21D}">
      <dsp:nvSpPr>
        <dsp:cNvPr id="0" name=""/>
        <dsp:cNvSpPr/>
      </dsp:nvSpPr>
      <dsp:spPr>
        <a:xfrm>
          <a:off x="3055378" y="848686"/>
          <a:ext cx="2915872" cy="848686"/>
        </a:xfrm>
        <a:prstGeom prst="trapezoid">
          <a:avLst>
            <a:gd name="adj" fmla="val 88633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200" b="1" kern="1200" dirty="0">
              <a:solidFill>
                <a:schemeClr val="tx2"/>
              </a:solidFill>
              <a:latin typeface="+mn-lt"/>
            </a:rPr>
            <a:t>Odpovědnost vedení  (školení, zajištění zdrojů + prokazatelnost)</a:t>
          </a:r>
        </a:p>
      </dsp:txBody>
      <dsp:txXfrm>
        <a:off x="3565656" y="848686"/>
        <a:ext cx="1895316" cy="848686"/>
      </dsp:txXfrm>
    </dsp:sp>
    <dsp:sp modelId="{059737BC-8212-4A01-B383-B6C4ED2C8CC1}">
      <dsp:nvSpPr>
        <dsp:cNvPr id="0" name=""/>
        <dsp:cNvSpPr/>
      </dsp:nvSpPr>
      <dsp:spPr>
        <a:xfrm>
          <a:off x="2314134" y="1697372"/>
          <a:ext cx="4398360" cy="848686"/>
        </a:xfrm>
        <a:prstGeom prst="trapezoid">
          <a:avLst>
            <a:gd name="adj" fmla="val 88633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200" b="1" kern="1200" dirty="0">
              <a:solidFill>
                <a:schemeClr val="tx2"/>
              </a:solidFill>
              <a:latin typeface="+mn-lt"/>
            </a:rPr>
            <a:t>Kontinuita a incidenty (postupy obnovy, odpovědnosti, zálohování a jejich plány, incident management)</a:t>
          </a:r>
        </a:p>
      </dsp:txBody>
      <dsp:txXfrm>
        <a:off x="3083847" y="1697372"/>
        <a:ext cx="2858934" cy="848686"/>
      </dsp:txXfrm>
    </dsp:sp>
    <dsp:sp modelId="{AB9788C4-71E2-436B-B92D-86A0EF97192B}">
      <dsp:nvSpPr>
        <dsp:cNvPr id="0" name=""/>
        <dsp:cNvSpPr/>
      </dsp:nvSpPr>
      <dsp:spPr>
        <a:xfrm>
          <a:off x="1536723" y="2546058"/>
          <a:ext cx="5953182" cy="848686"/>
        </a:xfrm>
        <a:prstGeom prst="trapezoid">
          <a:avLst>
            <a:gd name="adj" fmla="val 88633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200" b="1" kern="1200" dirty="0">
              <a:solidFill>
                <a:schemeClr val="tx2"/>
              </a:solidFill>
              <a:latin typeface="+mn-lt"/>
            </a:rPr>
            <a:t>Bezpečnostní politika (povinnosti a práva uživatelů, administrátorů a vedeni společnosti)</a:t>
          </a:r>
        </a:p>
      </dsp:txBody>
      <dsp:txXfrm>
        <a:off x="2578530" y="2546058"/>
        <a:ext cx="3869568" cy="848686"/>
      </dsp:txXfrm>
    </dsp:sp>
    <dsp:sp modelId="{70497EFC-356D-4558-B1FA-8B195062705A}">
      <dsp:nvSpPr>
        <dsp:cNvPr id="0" name=""/>
        <dsp:cNvSpPr/>
      </dsp:nvSpPr>
      <dsp:spPr>
        <a:xfrm>
          <a:off x="768354" y="3394744"/>
          <a:ext cx="7489921" cy="848686"/>
        </a:xfrm>
        <a:prstGeom prst="trapezoid">
          <a:avLst>
            <a:gd name="adj" fmla="val 88633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200" b="1" kern="1200" dirty="0">
              <a:solidFill>
                <a:schemeClr val="tx2"/>
              </a:solidFill>
              <a:latin typeface="+mn-lt"/>
            </a:rPr>
            <a:t>Identifikace rizik (co mi hrozí a jak tomu zabráním )</a:t>
          </a:r>
        </a:p>
      </dsp:txBody>
      <dsp:txXfrm>
        <a:off x="2079090" y="3394744"/>
        <a:ext cx="4868448" cy="848686"/>
      </dsp:txXfrm>
    </dsp:sp>
    <dsp:sp modelId="{E9163751-0411-4E9A-9FC0-2CDC258CFD57}">
      <dsp:nvSpPr>
        <dsp:cNvPr id="0" name=""/>
        <dsp:cNvSpPr/>
      </dsp:nvSpPr>
      <dsp:spPr>
        <a:xfrm>
          <a:off x="0" y="4243430"/>
          <a:ext cx="9026630" cy="848686"/>
        </a:xfrm>
        <a:prstGeom prst="trapezoid">
          <a:avLst>
            <a:gd name="adj" fmla="val 88633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200" b="1" kern="1200" dirty="0">
              <a:solidFill>
                <a:schemeClr val="tx2"/>
              </a:solidFill>
              <a:latin typeface="+mn-lt"/>
            </a:rPr>
            <a:t>Identifikace aktiv  (co mám co je důležité pro provoz služby )</a:t>
          </a:r>
        </a:p>
      </dsp:txBody>
      <dsp:txXfrm>
        <a:off x="1579660" y="4243430"/>
        <a:ext cx="5867309" cy="848686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1702801-A791-4BC8-933A-5BE4B53E6834}">
      <dsp:nvSpPr>
        <dsp:cNvPr id="0" name=""/>
        <dsp:cNvSpPr/>
      </dsp:nvSpPr>
      <dsp:spPr>
        <a:xfrm>
          <a:off x="4475764" y="0"/>
          <a:ext cx="1790305" cy="833306"/>
        </a:xfrm>
        <a:prstGeom prst="trapezoid">
          <a:avLst>
            <a:gd name="adj" fmla="val 107422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200" b="1" kern="1200">
              <a:solidFill>
                <a:schemeClr val="tx2"/>
              </a:solidFill>
              <a:latin typeface="+mn-lt"/>
            </a:rPr>
            <a:t>IS organizace (SIEM+LM, krypto.)</a:t>
          </a:r>
          <a:endParaRPr lang="cs-CZ" sz="1200" b="1" kern="1200" dirty="0">
            <a:solidFill>
              <a:schemeClr val="tx2"/>
            </a:solidFill>
            <a:latin typeface="+mn-lt"/>
          </a:endParaRPr>
        </a:p>
      </dsp:txBody>
      <dsp:txXfrm>
        <a:off x="4475764" y="0"/>
        <a:ext cx="1790305" cy="833306"/>
      </dsp:txXfrm>
    </dsp:sp>
    <dsp:sp modelId="{BD3056CF-F1E7-45EF-BC9D-71900391C21D}">
      <dsp:nvSpPr>
        <dsp:cNvPr id="0" name=""/>
        <dsp:cNvSpPr/>
      </dsp:nvSpPr>
      <dsp:spPr>
        <a:xfrm>
          <a:off x="3580611" y="833306"/>
          <a:ext cx="3580611" cy="833306"/>
        </a:xfrm>
        <a:prstGeom prst="trapezoid">
          <a:avLst>
            <a:gd name="adj" fmla="val 107422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200" b="1" kern="1200" dirty="0">
              <a:solidFill>
                <a:schemeClr val="tx2"/>
              </a:solidFill>
              <a:latin typeface="+mn-lt"/>
            </a:rPr>
            <a:t>Servery (EDR, VM, LM, PAM)</a:t>
          </a:r>
        </a:p>
      </dsp:txBody>
      <dsp:txXfrm>
        <a:off x="4207218" y="833306"/>
        <a:ext cx="2327397" cy="833306"/>
      </dsp:txXfrm>
    </dsp:sp>
    <dsp:sp modelId="{059737BC-8212-4A01-B383-B6C4ED2C8CC1}">
      <dsp:nvSpPr>
        <dsp:cNvPr id="0" name=""/>
        <dsp:cNvSpPr/>
      </dsp:nvSpPr>
      <dsp:spPr>
        <a:xfrm>
          <a:off x="2685458" y="1666613"/>
          <a:ext cx="5370916" cy="833306"/>
        </a:xfrm>
        <a:prstGeom prst="trapezoid">
          <a:avLst>
            <a:gd name="adj" fmla="val 107422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200" b="1" kern="1200">
              <a:solidFill>
                <a:schemeClr val="tx2"/>
              </a:solidFill>
              <a:latin typeface="+mn-lt"/>
            </a:rPr>
            <a:t>Síťová vrstva (NDR, NAC, FW, MFA)</a:t>
          </a:r>
          <a:endParaRPr lang="cs-CZ" sz="1200" b="1" kern="1200" dirty="0">
            <a:solidFill>
              <a:schemeClr val="tx2"/>
            </a:solidFill>
            <a:latin typeface="+mn-lt"/>
          </a:endParaRPr>
        </a:p>
      </dsp:txBody>
      <dsp:txXfrm>
        <a:off x="3625368" y="1666613"/>
        <a:ext cx="3491096" cy="833306"/>
      </dsp:txXfrm>
    </dsp:sp>
    <dsp:sp modelId="{AB9788C4-71E2-436B-B92D-86A0EF97192B}">
      <dsp:nvSpPr>
        <dsp:cNvPr id="0" name=""/>
        <dsp:cNvSpPr/>
      </dsp:nvSpPr>
      <dsp:spPr>
        <a:xfrm>
          <a:off x="1790305" y="2499919"/>
          <a:ext cx="7161222" cy="833306"/>
        </a:xfrm>
        <a:prstGeom prst="trapezoid">
          <a:avLst>
            <a:gd name="adj" fmla="val 107422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200" b="1" kern="1200" dirty="0">
              <a:solidFill>
                <a:schemeClr val="tx2"/>
              </a:solidFill>
              <a:latin typeface="+mn-lt"/>
            </a:rPr>
            <a:t>Koncové body (</a:t>
          </a:r>
          <a:r>
            <a:rPr lang="cs-CZ" sz="1200" b="1" kern="1200" dirty="0" err="1">
              <a:solidFill>
                <a:schemeClr val="tx2"/>
              </a:solidFill>
              <a:latin typeface="+mn-lt"/>
            </a:rPr>
            <a:t>AV+EDR+Patch</a:t>
          </a:r>
          <a:r>
            <a:rPr lang="cs-CZ" sz="1200" b="1" kern="1200" dirty="0">
              <a:solidFill>
                <a:schemeClr val="tx2"/>
              </a:solidFill>
              <a:latin typeface="+mn-lt"/>
            </a:rPr>
            <a:t> </a:t>
          </a:r>
          <a:r>
            <a:rPr lang="cs-CZ" sz="1200" b="1" kern="1200" dirty="0" err="1">
              <a:solidFill>
                <a:schemeClr val="tx2"/>
              </a:solidFill>
              <a:latin typeface="+mn-lt"/>
            </a:rPr>
            <a:t>management+VM</a:t>
          </a:r>
          <a:r>
            <a:rPr lang="cs-CZ" sz="1200" b="1" kern="1200" dirty="0">
              <a:solidFill>
                <a:schemeClr val="tx2"/>
              </a:solidFill>
              <a:latin typeface="+mn-lt"/>
            </a:rPr>
            <a:t>)</a:t>
          </a:r>
        </a:p>
      </dsp:txBody>
      <dsp:txXfrm>
        <a:off x="3043519" y="2499919"/>
        <a:ext cx="4654794" cy="833306"/>
      </dsp:txXfrm>
    </dsp:sp>
    <dsp:sp modelId="{70497EFC-356D-4558-B1FA-8B195062705A}">
      <dsp:nvSpPr>
        <dsp:cNvPr id="0" name=""/>
        <dsp:cNvSpPr/>
      </dsp:nvSpPr>
      <dsp:spPr>
        <a:xfrm>
          <a:off x="895152" y="3333226"/>
          <a:ext cx="8951528" cy="833306"/>
        </a:xfrm>
        <a:prstGeom prst="trapezoid">
          <a:avLst>
            <a:gd name="adj" fmla="val 107422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200" b="1" kern="1200">
              <a:solidFill>
                <a:schemeClr val="tx2"/>
              </a:solidFill>
              <a:latin typeface="+mn-lt"/>
            </a:rPr>
            <a:t>Zajištění dostupnosti (systémy v režimu vysoké dostupnosti )</a:t>
          </a:r>
          <a:endParaRPr lang="cs-CZ" sz="1200" b="1" kern="1200" dirty="0">
            <a:solidFill>
              <a:schemeClr val="tx2"/>
            </a:solidFill>
            <a:latin typeface="+mn-lt"/>
          </a:endParaRPr>
        </a:p>
      </dsp:txBody>
      <dsp:txXfrm>
        <a:off x="2461670" y="3333226"/>
        <a:ext cx="5818493" cy="833306"/>
      </dsp:txXfrm>
    </dsp:sp>
    <dsp:sp modelId="{E9163751-0411-4E9A-9FC0-2CDC258CFD57}">
      <dsp:nvSpPr>
        <dsp:cNvPr id="0" name=""/>
        <dsp:cNvSpPr/>
      </dsp:nvSpPr>
      <dsp:spPr>
        <a:xfrm>
          <a:off x="0" y="4166532"/>
          <a:ext cx="10741833" cy="833306"/>
        </a:xfrm>
        <a:prstGeom prst="trapezoid">
          <a:avLst>
            <a:gd name="adj" fmla="val 107422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200" b="1" kern="1200">
              <a:solidFill>
                <a:schemeClr val="tx2"/>
              </a:solidFill>
              <a:latin typeface="+mn-lt"/>
            </a:rPr>
            <a:t>Fyzická bezpečnost (přístupy, EZS, EPS)</a:t>
          </a:r>
          <a:endParaRPr lang="cs-CZ" sz="1200" b="1" kern="1200" dirty="0">
            <a:solidFill>
              <a:schemeClr val="tx2"/>
            </a:solidFill>
            <a:latin typeface="+mn-lt"/>
          </a:endParaRPr>
        </a:p>
      </dsp:txBody>
      <dsp:txXfrm>
        <a:off x="1879820" y="4166532"/>
        <a:ext cx="6982192" cy="833306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3">
  <dgm:title val=""/>
  <dgm:desc val=""/>
  <dgm:catLst>
    <dgm:cat type="list" pri="14000"/>
    <dgm:cat type="convert" pri="3000"/>
    <dgm:cat type="picture" pri="27000"/>
    <dgm:cat type="pictureconvert" pri="27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dir/>
      <dgm:resizeHandles val="exact"/>
    </dgm:varLst>
    <dgm:alg type="lin">
      <dgm:param type="linDir" val="fromT"/>
      <dgm:param type="vertAlign" val="mid"/>
      <dgm:param type="horzAlign" val="ctr"/>
    </dgm:alg>
    <dgm:shape xmlns:r="http://schemas.openxmlformats.org/officeDocument/2006/relationships" r:blip="">
      <dgm:adjLst/>
    </dgm:shape>
    <dgm:presOf/>
    <dgm:constrLst>
      <dgm:constr type="w" for="ch" forName="composite" refType="w"/>
      <dgm:constr type="h" for="ch" forName="composite" refType="h"/>
      <dgm:constr type="h" for="ch" forName="spacing" refType="h" refFor="ch" refForName="composite" fact="0.25"/>
      <dgm:constr type="h" for="ch" forName="spacing" refType="w" op="lte" fact="0.1"/>
      <dgm:constr type="primFontSz" for="des" ptType="node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l" for="ch" forName="imgShp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l" for="ch" forName="txShp" refType="w" refFor="ch" refForName="imgShp" fact="0.5"/>
              <dgm:constr type="lMarg" for="ch" forName="txShp" refType="w" refFor="ch" refForName="imgShp" fact="1.25"/>
            </dgm:constrLst>
          </dgm:if>
          <dgm:else name="Name3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r" for="ch" forName="imgShp" refType="w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r" for="ch" forName="txShp" refType="ctrX" refFor="ch" refForName="imgShp"/>
              <dgm:constr type="rMarg" for="ch" forName="txShp" refType="w" refFor="ch" refForName="imgShp" fact="1.25"/>
            </dgm:constrLst>
          </dgm:else>
        </dgm:choose>
        <dgm:ruleLst/>
        <dgm:layoutNode name="imgShp" styleLbl="fgImgPlace1">
          <dgm:alg type="sp"/>
          <dgm:shape xmlns:r="http://schemas.openxmlformats.org/officeDocument/2006/relationships" type="ellipse" r:blip="" blipPhldr="1">
            <dgm:adjLst/>
          </dgm:shape>
          <dgm:presOf/>
          <dgm:constrLst/>
          <dgm:ruleLst/>
        </dgm:layoutNode>
        <dgm:layoutNode name="txShp">
          <dgm:varLst>
            <dgm:bulletEnabled val="1"/>
          </dgm:varLst>
          <dgm:alg type="tx"/>
          <dgm:choose name="Name4">
            <dgm:if name="Name5" func="var" arg="dir" op="equ" val="norm">
              <dgm:shape xmlns:r="http://schemas.openxmlformats.org/officeDocument/2006/relationships" rot="180" type="homePlate" r:blip="" zOrderOff="-1">
                <dgm:adjLst/>
              </dgm:shape>
            </dgm:if>
            <dgm:else name="Name6">
              <dgm:shape xmlns:r="http://schemas.openxmlformats.org/officeDocument/2006/relationships" type="homePlate" r:blip="" zOrderOff="-1">
                <dgm:adjLst/>
              </dgm:shape>
            </dgm:else>
          </dgm:choose>
          <dgm:presOf axis="desOrSelf" ptType="node"/>
          <dgm:constrLst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layoutNode>
      <dgm:forEach name="Name7" axis="followSib" ptType="sibTrans" cnt="1">
        <dgm:layoutNode name="spacing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lProcess2">
  <dgm:title val=""/>
  <dgm:desc val=""/>
  <dgm:catLst>
    <dgm:cat type="list" pri="10000"/>
    <dgm:cat type="relationship" pri="13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  <dgm:cxn modelId="33" srcId="3" destId="31" srcOrd="0" destOrd="0"/>
        <dgm:cxn modelId="34" srcId="3" destId="32" srcOrd="0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theList">
    <dgm:varLst>
      <dgm:dir/>
      <dgm:animLvl val="lvl"/>
      <dgm:resizeHandles val="exact"/>
    </dgm:varLst>
    <dgm:choose name="Name0">
      <dgm:if name="Name1" func="var" arg="dir" op="equ" val="norm">
        <dgm:alg type="lin"/>
      </dgm:if>
      <dgm:else name="Name2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Node" refType="w"/>
      <dgm:constr type="h" for="ch" forName="compNode" refType="h"/>
      <dgm:constr type="w" for="ch" forName="aSpace" refType="w" fact="0.075"/>
      <dgm:constr type="h" for="des" forName="aSpace2" refType="h" fact="0.1"/>
      <dgm:constr type="primFontSz" for="des" forName="textNode" op="equ"/>
      <dgm:constr type="primFontSz" for="des" forName="childNode" op="equ"/>
    </dgm:constrLst>
    <dgm:ruleLst/>
    <dgm:forEach name="aNodeForEach" axis="ch" ptType="node">
      <dgm:layoutNode name="compNode">
        <dgm:alg type="composite"/>
        <dgm:shape xmlns:r="http://schemas.openxmlformats.org/officeDocument/2006/relationships" r:blip="">
          <dgm:adjLst/>
        </dgm:shape>
        <dgm:presOf/>
        <dgm:constrLst>
          <dgm:constr type="w" for="ch" forName="aNode" refType="w"/>
          <dgm:constr type="h" for="ch" forName="aNode" refType="h"/>
          <dgm:constr type="w" for="ch" forName="textNode" refType="w"/>
          <dgm:constr type="h" for="ch" forName="textNode" refType="h" fact="0.3"/>
          <dgm:constr type="ctrX" for="ch" forName="textNode" refType="w" fact="0.5"/>
          <dgm:constr type="w" for="ch" forName="compChildNode" refType="w" fact="0.8"/>
          <dgm:constr type="h" for="ch" forName="compChildNode" refType="h" fact="0.65"/>
          <dgm:constr type="t" for="ch" forName="compChildNode" refType="h" fact="0.3"/>
          <dgm:constr type="ctrX" for="ch" forName="compChildNode" refType="w" fact="0.5"/>
        </dgm:constrLst>
        <dgm:ruleLst/>
        <dgm:layoutNode name="aNode" styleLbl="bgShp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/>
          <dgm:constrLst/>
          <dgm:ruleLst/>
        </dgm:layoutNode>
        <dgm:layoutNode name="textNode" styleLbl="bgShp">
          <dgm:alg type="tx"/>
          <dgm:shape xmlns:r="http://schemas.openxmlformats.org/officeDocument/2006/relationships" type="rect" r:blip="" hideGeom="1">
            <dgm:adjLst>
              <dgm:adj idx="1" val="0.1"/>
            </dgm:adjLst>
          </dgm:shape>
          <dgm:presOf axis="self"/>
          <dgm:constrLst>
            <dgm:constr type="primFontSz" val="65"/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compChildNode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w" for="des" forName="childNode" refType="w"/>
            <dgm:constr type="h" for="des" forName="childNode" refType="h"/>
          </dgm:constrLst>
          <dgm:ruleLst/>
          <dgm:layoutNode name="theInnerList">
            <dgm:alg type="lin">
              <dgm:param type="linDir" val="fromT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childNodeForEach" axis="ch" ptType="node">
              <dgm:layoutNode name="childNode" styleLbl="node1">
                <dgm:varLst>
                  <dgm:bulletEnabled val="1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desOrSelf" ptType="node"/>
                <dgm:constrLst>
                  <dgm:constr type="primFontSz" val="65"/>
                  <dgm:constr type="tMarg" refType="primFontSz" fact="0.15"/>
                  <dgm:constr type="bMarg" refType="primFontSz" fact="0.15"/>
                  <dgm:constr type="lMarg" refType="primFontSz" fact="0.2"/>
                  <dgm:constr type="rMarg" refType="primFontSz" fact="0.2"/>
                </dgm:constrLst>
                <dgm:ruleLst>
                  <dgm:rule type="primFontSz" val="5" fact="NaN" max="NaN"/>
                </dgm:ruleLst>
              </dgm:layoutNode>
              <dgm:choose name="Name3">
                <dgm:if name="Name4" axis="self" ptType="node" func="revPos" op="equ" val="1"/>
                <dgm:else name="Name5">
                  <dgm:layoutNode name="aSpace2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else>
              </dgm:choose>
            </dgm:forEach>
          </dgm:layoutNode>
        </dgm:layoutNode>
      </dgm:layoutNode>
      <dgm:choose name="Name6">
        <dgm:if name="Name7" axis="self" ptType="node" func="revPos" op="equ" val="1"/>
        <dgm:else name="Name8">
          <dgm:layoutNode name="aSpace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else>
      </dgm:choos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3d4">
  <dgm:title val=""/>
  <dgm:desc val=""/>
  <dgm:catLst>
    <dgm:cat type="3D" pri="11400"/>
  </dgm:catLst>
  <dgm:scene3d>
    <a:camera prst="orthographicFront"/>
    <a:lightRig rig="threePt" dir="t"/>
  </dgm:scene3d>
  <dgm:styleLbl name="node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chilly" dir="t"/>
    </dgm:scene3d>
    <dgm:sp3d z="12700" extrusionH="12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ImgPlace1">
    <dgm:scene3d>
      <a:camera prst="orthographicFront"/>
      <a:lightRig rig="chilly" dir="t"/>
    </dgm:scene3d>
    <dgm:sp3d z="-257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chilly" dir="t"/>
    </dgm:scene3d>
    <dgm:sp3d z="-700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/>
      <a:lightRig rig="chilly" dir="t"/>
    </dgm:scene3d>
    <dgm:sp3d z="-25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/>
      <a:lightRig rig="chilly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chilly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chilly" dir="t"/>
    </dgm:scene3d>
    <dgm:sp3d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chilly" dir="t"/>
    </dgm:scene3d>
    <dgm:sp3d prstMaterial="dkEdge">
      <a:bevelT w="127000" h="25400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chilly" dir="t"/>
    </dgm:scene3d>
    <dgm:sp3d z="-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chilly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4-09-13T09:38:27.222"/>
    </inkml:context>
    <inkml:brush xml:id="br0">
      <inkml:brushProperty name="width" value="0.05" units="cm"/>
      <inkml:brushProperty name="height" value="0.05" units="cm"/>
      <inkml:brushProperty name="color" value="#E71224"/>
    </inkml:brush>
  </inkml:definitions>
  <inkml:trace contextRef="#ctx0" brushRef="#br0">0 0 24575,'0'0'-8191</inkml:trace>
</inkml:ink>
</file>

<file path=ppt/ink/ink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4-09-13T09:38:27.222"/>
    </inkml:context>
    <inkml:brush xml:id="br0">
      <inkml:brushProperty name="width" value="0.05" units="cm"/>
      <inkml:brushProperty name="height" value="0.05" units="cm"/>
      <inkml:brushProperty name="color" value="#E71224"/>
    </inkml:brush>
  </inkml:definitions>
  <inkml:trace contextRef="#ctx0" brushRef="#br0">0 0 24575,'0'0'-8191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24053C7-B18E-41CC-970A-862A347402DF}" type="datetimeFigureOut">
              <a:rPr lang="cs-CZ" smtClean="0"/>
              <a:t>19.04.2026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00CF8FB-034C-49C1-A16C-2248D97C7D33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14854470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FAE875B-90A6-114F-9A3C-425F0E4F372C}" type="slidenum">
              <a:rPr lang="cs-CZ" smtClean="0"/>
              <a:t>1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71140861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k-SK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8CFBE79-09E4-476B-AC6E-8751983C7442}" type="slidenum">
              <a:rPr lang="en-US" smtClean="0"/>
              <a:pPr>
                <a:defRPr/>
              </a:pPr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3308312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F6DCF88-1B43-4E5C-867C-028E875E3D86}" type="slidenum">
              <a:rPr lang="sk-SK" smtClean="0"/>
              <a:t>4</a:t>
            </a:fld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120751108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6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á snímk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 b="1">
                <a:solidFill>
                  <a:schemeClr val="tx1"/>
                </a:solidFill>
                <a:latin typeface="Myriad Pro" panose="020B0503030403020204" pitchFamily="34" charset="0"/>
              </a:defRPr>
            </a:lvl1pPr>
          </a:lstStyle>
          <a:p>
            <a:r>
              <a:rPr lang="en-US" dirty="0"/>
              <a:t>TITLE</a:t>
            </a:r>
            <a:endParaRPr lang="sk-SK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noFill/>
        </p:spPr>
        <p:txBody>
          <a:bodyPr/>
          <a:lstStyle>
            <a:lvl1pPr marL="0" indent="0" algn="ctr">
              <a:buNone/>
              <a:defRPr sz="2400">
                <a:latin typeface="Myriad Pro" panose="020B0503030403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k-SK"/>
              <a:t>Kliknutím upravte štýl predlohy podnadpisu</a:t>
            </a:r>
            <a:endParaRPr lang="sk-SK" dirty="0"/>
          </a:p>
        </p:txBody>
      </p:sp>
    </p:spTree>
    <p:extLst>
      <p:ext uri="{BB962C8B-B14F-4D97-AF65-F5344CB8AC3E}">
        <p14:creationId xmlns:p14="http://schemas.microsoft.com/office/powerpoint/2010/main" val="233952086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 b="1">
                <a:solidFill>
                  <a:schemeClr val="tx1"/>
                </a:solidFill>
                <a:latin typeface="Myriad Pro" panose="020B0503030403020204" pitchFamily="34" charset="0"/>
              </a:defRPr>
            </a:lvl1pPr>
          </a:lstStyle>
          <a:p>
            <a:r>
              <a:rPr lang="en-US" dirty="0"/>
              <a:t>TITLE</a:t>
            </a:r>
            <a:endParaRPr lang="sk-SK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noFill/>
        </p:spPr>
        <p:txBody>
          <a:bodyPr/>
          <a:lstStyle>
            <a:lvl1pPr marL="0" indent="0" algn="ctr">
              <a:buNone/>
              <a:defRPr sz="2400">
                <a:latin typeface="Myriad Pro" panose="020B0503030403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sk-SK" dirty="0"/>
          </a:p>
        </p:txBody>
      </p:sp>
    </p:spTree>
    <p:extLst>
      <p:ext uri="{BB962C8B-B14F-4D97-AF65-F5344CB8AC3E}">
        <p14:creationId xmlns:p14="http://schemas.microsoft.com/office/powerpoint/2010/main" val="72482798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82444" y="2918753"/>
            <a:ext cx="10515600" cy="1325563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sk-SK" dirty="0"/>
          </a:p>
        </p:txBody>
      </p:sp>
    </p:spTree>
    <p:extLst>
      <p:ext uri="{BB962C8B-B14F-4D97-AF65-F5344CB8AC3E}">
        <p14:creationId xmlns:p14="http://schemas.microsoft.com/office/powerpoint/2010/main" val="219679243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06296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sk-SK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3987298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rgbClr val="000000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9026272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989592"/>
            <a:ext cx="5350727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sk-SK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2341755"/>
            <a:ext cx="5350727" cy="3534937"/>
          </a:xfrm>
        </p:spPr>
        <p:txBody>
          <a:bodyPr/>
          <a:lstStyle>
            <a:lvl3pPr>
              <a:defRPr>
                <a:solidFill>
                  <a:srgbClr val="D2A050"/>
                </a:solidFill>
              </a:defRPr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k-SK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1"/>
          </p:nvPr>
        </p:nvSpPr>
        <p:spPr>
          <a:xfrm>
            <a:off x="6189663" y="989592"/>
            <a:ext cx="5164137" cy="4887333"/>
          </a:xfrm>
        </p:spPr>
        <p:txBody>
          <a:bodyPr/>
          <a:lstStyle/>
          <a:p>
            <a:r>
              <a:rPr lang="en-US"/>
              <a:t>Click icon to add picture</a:t>
            </a:r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386667781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sk-SK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117975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k-SK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117975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k-SK" dirty="0"/>
          </a:p>
        </p:txBody>
      </p:sp>
    </p:spTree>
    <p:extLst>
      <p:ext uri="{BB962C8B-B14F-4D97-AF65-F5344CB8AC3E}">
        <p14:creationId xmlns:p14="http://schemas.microsoft.com/office/powerpoint/2010/main" val="218894546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885970"/>
            <a:ext cx="10515600" cy="99591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sk-SK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3158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k-SK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3158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355475978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987424"/>
            <a:ext cx="3932237" cy="1069975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sk-SK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k-SK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5527582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987424"/>
            <a:ext cx="3932237" cy="1069975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sk-SK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sk-SK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sk-SK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7C7C08E-6ACE-45DF-80FE-224B9D282631}" type="slidenum">
              <a:rPr lang="sk-SK" smtClean="0"/>
              <a:t>‹#›</a:t>
            </a:fld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350611676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2105232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 b="1">
                <a:solidFill>
                  <a:schemeClr val="tx1"/>
                </a:solidFill>
                <a:latin typeface="Myriad Pro" panose="020B0503030403020204" pitchFamily="34" charset="0"/>
              </a:defRPr>
            </a:lvl1pPr>
          </a:lstStyle>
          <a:p>
            <a:r>
              <a:rPr lang="en-US" dirty="0"/>
              <a:t>TITLE</a:t>
            </a:r>
            <a:endParaRPr lang="sk-SK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noFill/>
        </p:spPr>
        <p:txBody>
          <a:bodyPr/>
          <a:lstStyle>
            <a:lvl1pPr marL="0" indent="0" algn="ctr">
              <a:buNone/>
              <a:defRPr sz="2400">
                <a:latin typeface="Myriad Pro" panose="020B0503030403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sk-SK" dirty="0"/>
          </a:p>
        </p:txBody>
      </p:sp>
    </p:spTree>
    <p:extLst>
      <p:ext uri="{BB962C8B-B14F-4D97-AF65-F5344CB8AC3E}">
        <p14:creationId xmlns:p14="http://schemas.microsoft.com/office/powerpoint/2010/main" val="409872274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Len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82444" y="2918753"/>
            <a:ext cx="10515600" cy="1325563"/>
          </a:xfrm>
        </p:spPr>
        <p:txBody>
          <a:bodyPr/>
          <a:lstStyle/>
          <a:p>
            <a:r>
              <a:rPr lang="sk-SK"/>
              <a:t>Kliknutím upravte štýl predlohy nadpisu</a:t>
            </a:r>
            <a:endParaRPr lang="sk-SK" dirty="0"/>
          </a:p>
        </p:txBody>
      </p:sp>
    </p:spTree>
    <p:extLst>
      <p:ext uri="{BB962C8B-B14F-4D97-AF65-F5344CB8AC3E}">
        <p14:creationId xmlns:p14="http://schemas.microsoft.com/office/powerpoint/2010/main" val="146818379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82444" y="2918753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242470427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06296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sk-SK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3987298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rgbClr val="000000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7310439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989592"/>
            <a:ext cx="5350727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sk-SK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2341755"/>
            <a:ext cx="5350727" cy="3534937"/>
          </a:xfrm>
        </p:spPr>
        <p:txBody>
          <a:bodyPr/>
          <a:lstStyle>
            <a:lvl3pPr>
              <a:defRPr>
                <a:solidFill>
                  <a:srgbClr val="D2A050"/>
                </a:solidFill>
              </a:defRPr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k-SK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1"/>
          </p:nvPr>
        </p:nvSpPr>
        <p:spPr>
          <a:xfrm>
            <a:off x="6189663" y="989592"/>
            <a:ext cx="5164137" cy="4887333"/>
          </a:xfrm>
        </p:spPr>
        <p:txBody>
          <a:bodyPr/>
          <a:lstStyle/>
          <a:p>
            <a:r>
              <a:rPr lang="en-US"/>
              <a:t>Click icon to add picture</a:t>
            </a:r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396956206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sk-SK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117975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k-SK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117975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k-SK" dirty="0"/>
          </a:p>
        </p:txBody>
      </p:sp>
    </p:spTree>
    <p:extLst>
      <p:ext uri="{BB962C8B-B14F-4D97-AF65-F5344CB8AC3E}">
        <p14:creationId xmlns:p14="http://schemas.microsoft.com/office/powerpoint/2010/main" val="58702620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885970"/>
            <a:ext cx="10515600" cy="99591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sk-SK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3158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k-SK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3158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320800672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987424"/>
            <a:ext cx="3932237" cy="1069975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sk-SK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k-SK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5178030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987424"/>
            <a:ext cx="3932237" cy="1069975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sk-SK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sk-SK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sk-SK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7C7C08E-6ACE-45DF-80FE-224B9D282631}" type="slidenum">
              <a:rPr lang="sk-SK" smtClean="0"/>
              <a:t>‹#›</a:t>
            </a:fld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198478074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2894553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 b="1">
                <a:solidFill>
                  <a:schemeClr val="tx1"/>
                </a:solidFill>
                <a:latin typeface="Myriad Pro" panose="020B0503030403020204" pitchFamily="34" charset="0"/>
              </a:defRPr>
            </a:lvl1pPr>
          </a:lstStyle>
          <a:p>
            <a:r>
              <a:rPr lang="en-US" dirty="0"/>
              <a:t>TITLE</a:t>
            </a:r>
            <a:endParaRPr lang="sk-SK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noFill/>
        </p:spPr>
        <p:txBody>
          <a:bodyPr/>
          <a:lstStyle>
            <a:lvl1pPr marL="0" indent="0" algn="ctr">
              <a:buNone/>
              <a:defRPr sz="2400">
                <a:latin typeface="Myriad Pro" panose="020B0503030403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sk-SK" dirty="0"/>
          </a:p>
        </p:txBody>
      </p:sp>
    </p:spTree>
    <p:extLst>
      <p:ext uri="{BB962C8B-B14F-4D97-AF65-F5344CB8AC3E}">
        <p14:creationId xmlns:p14="http://schemas.microsoft.com/office/powerpoint/2010/main" val="12403143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82444" y="2918753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53022952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Hlavička sekc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06296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sk-SK"/>
              <a:t>Kliknutím upravte štýl predlohy nadpisu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3987298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rgbClr val="000000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sk-SK"/>
              <a:t>Kliknite sem a upravte štýly predlohy textu</a:t>
            </a:r>
          </a:p>
        </p:txBody>
      </p:sp>
    </p:spTree>
    <p:extLst>
      <p:ext uri="{BB962C8B-B14F-4D97-AF65-F5344CB8AC3E}">
        <p14:creationId xmlns:p14="http://schemas.microsoft.com/office/powerpoint/2010/main" val="300290113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06296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sk-SK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3987298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rgbClr val="000000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9507789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989592"/>
            <a:ext cx="5350727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sk-SK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2341755"/>
            <a:ext cx="5350727" cy="3534937"/>
          </a:xfrm>
        </p:spPr>
        <p:txBody>
          <a:bodyPr/>
          <a:lstStyle>
            <a:lvl3pPr>
              <a:defRPr>
                <a:solidFill>
                  <a:srgbClr val="D2A050"/>
                </a:solidFill>
              </a:defRPr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k-SK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1"/>
          </p:nvPr>
        </p:nvSpPr>
        <p:spPr>
          <a:xfrm>
            <a:off x="6189663" y="989592"/>
            <a:ext cx="5164137" cy="4887333"/>
          </a:xfrm>
        </p:spPr>
        <p:txBody>
          <a:bodyPr/>
          <a:lstStyle/>
          <a:p>
            <a:r>
              <a:rPr lang="en-US"/>
              <a:t>Click icon to add picture</a:t>
            </a:r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245091358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sk-SK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117975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k-SK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117975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k-SK" dirty="0"/>
          </a:p>
        </p:txBody>
      </p:sp>
    </p:spTree>
    <p:extLst>
      <p:ext uri="{BB962C8B-B14F-4D97-AF65-F5344CB8AC3E}">
        <p14:creationId xmlns:p14="http://schemas.microsoft.com/office/powerpoint/2010/main" val="111913354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885970"/>
            <a:ext cx="10515600" cy="99591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sk-SK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3158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k-SK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3158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2022821978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987424"/>
            <a:ext cx="3932237" cy="1069975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sk-SK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k-SK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48852324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987424"/>
            <a:ext cx="3932237" cy="1069975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sk-SK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sk-SK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sk-SK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7C7C08E-6ACE-45DF-80FE-224B9D282631}" type="slidenum">
              <a:rPr lang="sk-SK" smtClean="0"/>
              <a:t>‹#›</a:t>
            </a:fld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653161001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83158077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adpis IMG B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8">
            <a:extLst>
              <a:ext uri="{FF2B5EF4-FFF2-40B4-BE49-F238E27FC236}">
                <a16:creationId xmlns:a16="http://schemas.microsoft.com/office/drawing/2014/main" id="{A2AFB9A3-10DE-31FA-89BA-49C3CC081A65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1003300" y="0"/>
            <a:ext cx="11188700" cy="68184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882F2C7C-6DF9-5536-F9B5-F0A8A6C459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60563" y="503238"/>
            <a:ext cx="9277350" cy="5842000"/>
          </a:xfrm>
          <a:effectLst/>
        </p:spPr>
        <p:txBody>
          <a:bodyPr/>
          <a:lstStyle>
            <a:lvl1pPr algn="ctr">
              <a:lnSpc>
                <a:spcPct val="80000"/>
              </a:lnSpc>
              <a:defRPr sz="9600" b="1" i="0" spc="-500" baseline="0">
                <a:solidFill>
                  <a:schemeClr val="bg2"/>
                </a:solidFill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defRPr>
            </a:lvl1pPr>
          </a:lstStyle>
          <a:p>
            <a:r>
              <a:rPr lang="en-US" dirty="0" err="1"/>
              <a:t>Nadpi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52002581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MG Thin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Zástupný symbol obrázku 29">
            <a:extLst>
              <a:ext uri="{FF2B5EF4-FFF2-40B4-BE49-F238E27FC236}">
                <a16:creationId xmlns:a16="http://schemas.microsoft.com/office/drawing/2014/main" id="{D5E3BBFE-7BBE-93D8-71BB-D332FC9FFE1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006476" y="0"/>
            <a:ext cx="2608262" cy="6821488"/>
          </a:xfrm>
          <a:solidFill>
            <a:schemeClr val="tx1"/>
          </a:solidFill>
        </p:spPr>
        <p:txBody>
          <a:bodyPr/>
          <a:lstStyle/>
          <a:p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767117050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základný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3" y="989592"/>
            <a:ext cx="8350306" cy="883811"/>
          </a:xfrm>
        </p:spPr>
        <p:txBody>
          <a:bodyPr/>
          <a:lstStyle/>
          <a:p>
            <a:r>
              <a:rPr lang="cs-CZ"/>
              <a:t>Kliknutím lze upravit styl.</a:t>
            </a:r>
            <a:endParaRPr lang="sk-SK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4" y="2341755"/>
            <a:ext cx="6643255" cy="3817976"/>
          </a:xfrm>
        </p:spPr>
        <p:txBody>
          <a:bodyPr/>
          <a:lstStyle>
            <a:lvl3pPr>
              <a:defRPr>
                <a:solidFill>
                  <a:srgbClr val="D2A050"/>
                </a:solidFill>
              </a:defRPr>
            </a:lvl3pPr>
          </a:lstStyle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sk-SK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17E394-F93A-47DE-9C16-541580D00E01}" type="datetimeFigureOut">
              <a:rPr lang="sk-SK" smtClean="0"/>
              <a:t>19. 4. 2026</a:t>
            </a:fld>
            <a:endParaRPr lang="sk-SK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1"/>
          </p:nvPr>
        </p:nvSpPr>
        <p:spPr>
          <a:xfrm>
            <a:off x="6189667" y="989594"/>
            <a:ext cx="5164137" cy="4887333"/>
          </a:xfrm>
        </p:spPr>
        <p:txBody>
          <a:bodyPr/>
          <a:lstStyle/>
          <a:p>
            <a:r>
              <a:rPr lang="cs-CZ"/>
              <a:t>Kliknutím na ikonu přidáte obrázek.</a:t>
            </a:r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254322331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989592"/>
            <a:ext cx="5350727" cy="1325563"/>
          </a:xfrm>
        </p:spPr>
        <p:txBody>
          <a:bodyPr/>
          <a:lstStyle/>
          <a:p>
            <a:r>
              <a:rPr lang="sk-SK"/>
              <a:t>Kliknutím upravte štýl predlohy nadpisu</a:t>
            </a:r>
            <a:endParaRPr lang="sk-SK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2341755"/>
            <a:ext cx="5350727" cy="3534937"/>
          </a:xfrm>
        </p:spPr>
        <p:txBody>
          <a:bodyPr/>
          <a:lstStyle>
            <a:lvl3pPr>
              <a:defRPr>
                <a:solidFill>
                  <a:srgbClr val="D2A050"/>
                </a:solidFill>
              </a:defRPr>
            </a:lvl3pPr>
          </a:lstStyle>
          <a:p>
            <a:pPr lvl="0"/>
            <a:r>
              <a:rPr lang="sk-SK"/>
              <a:t>Kliknite sem a upravte štýly predlohy textu</a:t>
            </a:r>
          </a:p>
          <a:p>
            <a:pPr lvl="1"/>
            <a:r>
              <a:rPr lang="sk-SK"/>
              <a:t>Druhá úroveň</a:t>
            </a:r>
          </a:p>
          <a:p>
            <a:pPr lvl="2"/>
            <a:r>
              <a:rPr lang="sk-SK"/>
              <a:t>Tretia úroveň</a:t>
            </a:r>
          </a:p>
          <a:p>
            <a:pPr lvl="3"/>
            <a:r>
              <a:rPr lang="sk-SK"/>
              <a:t>Štvrtá úroveň</a:t>
            </a:r>
          </a:p>
          <a:p>
            <a:pPr lvl="4"/>
            <a:r>
              <a:rPr lang="sk-SK"/>
              <a:t>Piata úroveň</a:t>
            </a:r>
            <a:endParaRPr lang="sk-SK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1"/>
          </p:nvPr>
        </p:nvSpPr>
        <p:spPr>
          <a:xfrm>
            <a:off x="6189663" y="989592"/>
            <a:ext cx="5164137" cy="4887333"/>
          </a:xfrm>
        </p:spPr>
        <p:txBody>
          <a:bodyPr/>
          <a:lstStyle/>
          <a:p>
            <a:r>
              <a:rPr lang="sk-SK"/>
              <a:t>Kliknutím na ikonu pridáte obrázok</a:t>
            </a:r>
          </a:p>
        </p:txBody>
      </p:sp>
    </p:spTree>
    <p:extLst>
      <p:ext uri="{BB962C8B-B14F-4D97-AF65-F5344CB8AC3E}">
        <p14:creationId xmlns:p14="http://schemas.microsoft.com/office/powerpoint/2010/main" val="23431033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 b="1">
                <a:solidFill>
                  <a:schemeClr val="tx1"/>
                </a:solidFill>
                <a:latin typeface="Myriad Pro" panose="020B0503030403020204" pitchFamily="34" charset="0"/>
              </a:defRPr>
            </a:lvl1pPr>
          </a:lstStyle>
          <a:p>
            <a:r>
              <a:rPr lang="en-US" dirty="0"/>
              <a:t>TITLE</a:t>
            </a:r>
            <a:endParaRPr lang="sk-SK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noFill/>
        </p:spPr>
        <p:txBody>
          <a:bodyPr/>
          <a:lstStyle>
            <a:lvl1pPr marL="0" indent="0" algn="ctr">
              <a:buNone/>
              <a:defRPr sz="2400">
                <a:solidFill>
                  <a:schemeClr val="bg2"/>
                </a:solidFill>
                <a:latin typeface="Myriad Pro" panose="020B0503030403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  <a:endParaRPr lang="sk-SK" dirty="0"/>
          </a:p>
        </p:txBody>
      </p:sp>
    </p:spTree>
    <p:extLst>
      <p:ext uri="{BB962C8B-B14F-4D97-AF65-F5344CB8AC3E}">
        <p14:creationId xmlns:p14="http://schemas.microsoft.com/office/powerpoint/2010/main" val="585788093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82444" y="2918753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2261018593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06296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sk-SK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3987298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bg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82627820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989592"/>
            <a:ext cx="5350727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sk-SK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2341755"/>
            <a:ext cx="5350727" cy="3534937"/>
          </a:xfrm>
        </p:spPr>
        <p:txBody>
          <a:bodyPr/>
          <a:lstStyle>
            <a:lvl3pPr>
              <a:defRPr>
                <a:solidFill>
                  <a:srgbClr val="D2A050"/>
                </a:solidFill>
              </a:defRPr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k-SK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1"/>
          </p:nvPr>
        </p:nvSpPr>
        <p:spPr>
          <a:xfrm>
            <a:off x="6189663" y="989592"/>
            <a:ext cx="5164137" cy="4887333"/>
          </a:xfrm>
        </p:spPr>
        <p:txBody>
          <a:bodyPr/>
          <a:lstStyle/>
          <a:p>
            <a:r>
              <a:rPr lang="en-US"/>
              <a:t>Click icon to add picture</a:t>
            </a:r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1489043421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sk-SK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117975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k-SK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117975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k-SK" dirty="0"/>
          </a:p>
        </p:txBody>
      </p:sp>
    </p:spTree>
    <p:extLst>
      <p:ext uri="{BB962C8B-B14F-4D97-AF65-F5344CB8AC3E}">
        <p14:creationId xmlns:p14="http://schemas.microsoft.com/office/powerpoint/2010/main" val="2625688469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885970"/>
            <a:ext cx="10515600" cy="99591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sk-SK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3158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k-SK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3158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1640621003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987424"/>
            <a:ext cx="3932237" cy="1069975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sk-SK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sk-SK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20945239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987424"/>
            <a:ext cx="3932237" cy="1069975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sk-SK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sk-SK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sk-SK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7C7C08E-6ACE-45DF-80FE-224B9D282631}" type="slidenum">
              <a:rPr lang="sk-SK" smtClean="0"/>
              <a:t>‹#›</a:t>
            </a:fld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131174665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35222458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 b="1">
                <a:solidFill>
                  <a:schemeClr val="tx1"/>
                </a:solidFill>
                <a:latin typeface="Myriad Pro" panose="020B0503030403020204" pitchFamily="34" charset="0"/>
              </a:defRPr>
            </a:lvl1pPr>
          </a:lstStyle>
          <a:p>
            <a:r>
              <a:rPr lang="en-US" dirty="0"/>
              <a:t>TITLE</a:t>
            </a:r>
            <a:endParaRPr lang="sk-SK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noFill/>
        </p:spPr>
        <p:txBody>
          <a:bodyPr/>
          <a:lstStyle>
            <a:lvl1pPr marL="0" indent="0" algn="ctr">
              <a:buNone/>
              <a:defRPr sz="2400">
                <a:solidFill>
                  <a:schemeClr val="bg2"/>
                </a:solidFill>
                <a:latin typeface="Myriad Pro" panose="020B0503030403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  <a:endParaRPr lang="sk-SK" dirty="0"/>
          </a:p>
        </p:txBody>
      </p:sp>
    </p:spTree>
    <p:extLst>
      <p:ext uri="{BB962C8B-B14F-4D97-AF65-F5344CB8AC3E}">
        <p14:creationId xmlns:p14="http://schemas.microsoft.com/office/powerpoint/2010/main" val="379390907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k-SK"/>
              <a:t>Kliknutím upravte štýl predlohy nadpisu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117975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sk-SK"/>
              <a:t>Kliknite sem a upravte štýly predlohy textu</a:t>
            </a:r>
          </a:p>
          <a:p>
            <a:pPr lvl="1"/>
            <a:r>
              <a:rPr lang="sk-SK"/>
              <a:t>Druhá úroveň</a:t>
            </a:r>
          </a:p>
          <a:p>
            <a:pPr lvl="2"/>
            <a:r>
              <a:rPr lang="sk-SK"/>
              <a:t>Tretia úroveň</a:t>
            </a:r>
          </a:p>
          <a:p>
            <a:pPr lvl="3"/>
            <a:r>
              <a:rPr lang="sk-SK"/>
              <a:t>Štvrtá úroveň</a:t>
            </a:r>
          </a:p>
          <a:p>
            <a:pPr lvl="4"/>
            <a:r>
              <a:rPr lang="sk-SK"/>
              <a:t>Piata úroveň</a:t>
            </a:r>
            <a:endParaRPr lang="sk-SK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117975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sk-SK"/>
              <a:t>Kliknite sem a upravte štýly predlohy textu</a:t>
            </a:r>
          </a:p>
          <a:p>
            <a:pPr lvl="1"/>
            <a:r>
              <a:rPr lang="sk-SK"/>
              <a:t>Druhá úroveň</a:t>
            </a:r>
          </a:p>
          <a:p>
            <a:pPr lvl="2"/>
            <a:r>
              <a:rPr lang="sk-SK"/>
              <a:t>Tretia úroveň</a:t>
            </a:r>
          </a:p>
          <a:p>
            <a:pPr lvl="3"/>
            <a:r>
              <a:rPr lang="sk-SK"/>
              <a:t>Štvrtá úroveň</a:t>
            </a:r>
          </a:p>
          <a:p>
            <a:pPr lvl="4"/>
            <a:r>
              <a:rPr lang="sk-SK"/>
              <a:t>Piata úroveň</a:t>
            </a:r>
            <a:endParaRPr lang="sk-SK" dirty="0"/>
          </a:p>
        </p:txBody>
      </p:sp>
    </p:spTree>
    <p:extLst>
      <p:ext uri="{BB962C8B-B14F-4D97-AF65-F5344CB8AC3E}">
        <p14:creationId xmlns:p14="http://schemas.microsoft.com/office/powerpoint/2010/main" val="3340085610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82444" y="2918753"/>
            <a:ext cx="10515600" cy="1325563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sk-SK" dirty="0"/>
          </a:p>
        </p:txBody>
      </p:sp>
    </p:spTree>
    <p:extLst>
      <p:ext uri="{BB962C8B-B14F-4D97-AF65-F5344CB8AC3E}">
        <p14:creationId xmlns:p14="http://schemas.microsoft.com/office/powerpoint/2010/main" val="3386539495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06296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sk-SK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3987298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bg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35690210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989592"/>
            <a:ext cx="5350727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sk-SK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2341755"/>
            <a:ext cx="5350727" cy="3534937"/>
          </a:xfrm>
        </p:spPr>
        <p:txBody>
          <a:bodyPr/>
          <a:lstStyle>
            <a:lvl3pPr>
              <a:defRPr>
                <a:solidFill>
                  <a:srgbClr val="D2A050"/>
                </a:solidFill>
              </a:defRPr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k-SK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1"/>
          </p:nvPr>
        </p:nvSpPr>
        <p:spPr>
          <a:xfrm>
            <a:off x="6189663" y="989592"/>
            <a:ext cx="5164137" cy="4887333"/>
          </a:xfrm>
        </p:spPr>
        <p:txBody>
          <a:bodyPr/>
          <a:lstStyle/>
          <a:p>
            <a:r>
              <a:rPr lang="en-US"/>
              <a:t>Click icon to add picture</a:t>
            </a:r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3041165788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sk-SK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117975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k-SK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117975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k-SK" dirty="0"/>
          </a:p>
        </p:txBody>
      </p:sp>
    </p:spTree>
    <p:extLst>
      <p:ext uri="{BB962C8B-B14F-4D97-AF65-F5344CB8AC3E}">
        <p14:creationId xmlns:p14="http://schemas.microsoft.com/office/powerpoint/2010/main" val="3964613600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885970"/>
            <a:ext cx="10515600" cy="99591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sk-SK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3158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k-SK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3158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1612245765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987424"/>
            <a:ext cx="3932237" cy="1069975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sk-SK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sk-SK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7465326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987424"/>
            <a:ext cx="3932237" cy="1069975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sk-SK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sk-SK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sk-SK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7C7C08E-6ACE-45DF-80FE-224B9D282631}" type="slidenum">
              <a:rPr lang="sk-SK" smtClean="0"/>
              <a:t>‹#›</a:t>
            </a:fld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2012662364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7350784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orov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885970"/>
            <a:ext cx="10515600" cy="995915"/>
          </a:xfrm>
        </p:spPr>
        <p:txBody>
          <a:bodyPr/>
          <a:lstStyle/>
          <a:p>
            <a:r>
              <a:rPr lang="sk-SK"/>
              <a:t>Kliknutím upravte štýl predlohy nadpisu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315862"/>
          </a:xfrm>
        </p:spPr>
        <p:txBody>
          <a:bodyPr/>
          <a:lstStyle/>
          <a:p>
            <a:pPr lvl="0"/>
            <a:r>
              <a:rPr lang="sk-SK"/>
              <a:t>Kliknite sem a upravte štýly predlohy textu</a:t>
            </a:r>
          </a:p>
          <a:p>
            <a:pPr lvl="1"/>
            <a:r>
              <a:rPr lang="sk-SK"/>
              <a:t>Druhá úroveň</a:t>
            </a:r>
          </a:p>
          <a:p>
            <a:pPr lvl="2"/>
            <a:r>
              <a:rPr lang="sk-SK"/>
              <a:t>Tretia úroveň</a:t>
            </a:r>
          </a:p>
          <a:p>
            <a:pPr lvl="3"/>
            <a:r>
              <a:rPr lang="sk-SK"/>
              <a:t>Štvrtá úroveň</a:t>
            </a:r>
          </a:p>
          <a:p>
            <a:pPr lvl="4"/>
            <a:r>
              <a:rPr lang="sk-SK"/>
              <a:t>Piata úroveň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315862"/>
          </a:xfrm>
        </p:spPr>
        <p:txBody>
          <a:bodyPr/>
          <a:lstStyle/>
          <a:p>
            <a:pPr lvl="0"/>
            <a:r>
              <a:rPr lang="sk-SK"/>
              <a:t>Kliknite sem a upravte štýly predlohy textu</a:t>
            </a:r>
          </a:p>
          <a:p>
            <a:pPr lvl="1"/>
            <a:r>
              <a:rPr lang="sk-SK"/>
              <a:t>Druhá úroveň</a:t>
            </a:r>
          </a:p>
          <a:p>
            <a:pPr lvl="2"/>
            <a:r>
              <a:rPr lang="sk-SK"/>
              <a:t>Tretia úroveň</a:t>
            </a:r>
          </a:p>
          <a:p>
            <a:pPr lvl="3"/>
            <a:r>
              <a:rPr lang="sk-SK"/>
              <a:t>Štvrtá úroveň</a:t>
            </a:r>
          </a:p>
          <a:p>
            <a:pPr lvl="4"/>
            <a:r>
              <a:rPr lang="sk-SK"/>
              <a:t>Piata úroveň</a:t>
            </a:r>
          </a:p>
        </p:txBody>
      </p:sp>
    </p:spTree>
    <p:extLst>
      <p:ext uri="{BB962C8B-B14F-4D97-AF65-F5344CB8AC3E}">
        <p14:creationId xmlns:p14="http://schemas.microsoft.com/office/powerpoint/2010/main" val="374808721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bsah s popis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987424"/>
            <a:ext cx="3932237" cy="1069975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sk-SK"/>
              <a:t>Kliknutím upravte štýl predlohy nadpisu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sk-SK"/>
              <a:t>Kliknite sem a upravte štýly predlohy textu</a:t>
            </a:r>
          </a:p>
          <a:p>
            <a:pPr lvl="1"/>
            <a:r>
              <a:rPr lang="sk-SK"/>
              <a:t>Druhá úroveň</a:t>
            </a:r>
          </a:p>
          <a:p>
            <a:pPr lvl="2"/>
            <a:r>
              <a:rPr lang="sk-SK"/>
              <a:t>Tretia úroveň</a:t>
            </a:r>
          </a:p>
          <a:p>
            <a:pPr lvl="3"/>
            <a:r>
              <a:rPr lang="sk-SK"/>
              <a:t>Štvrtá úroveň</a:t>
            </a:r>
          </a:p>
          <a:p>
            <a:pPr lvl="4"/>
            <a:r>
              <a:rPr lang="sk-SK"/>
              <a:t>Piata úroveň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sk-SK"/>
              <a:t>Kliknite sem a upravte štýly predlohy textu</a:t>
            </a:r>
          </a:p>
        </p:txBody>
      </p:sp>
    </p:spTree>
    <p:extLst>
      <p:ext uri="{BB962C8B-B14F-4D97-AF65-F5344CB8AC3E}">
        <p14:creationId xmlns:p14="http://schemas.microsoft.com/office/powerpoint/2010/main" val="411211923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ázok s popis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987424"/>
            <a:ext cx="3932237" cy="1069975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sk-SK"/>
              <a:t>Kliknutím upravte štýl predlohy nadpisu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sk-SK"/>
              <a:t>Kliknutím na ikonu pridáte obrázok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sk-SK"/>
              <a:t>Kliknite sem a upravte štýly predlohy textu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sk-SK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7C7C08E-6ACE-45DF-80FE-224B9D282631}" type="slidenum">
              <a:rPr lang="sk-SK" smtClean="0"/>
              <a:t>‹#›</a:t>
            </a:fld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294704411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051930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jpg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.xml"/><Relationship Id="rId3" Type="http://schemas.openxmlformats.org/officeDocument/2006/relationships/slideLayout" Target="../slideLayouts/slideLayout12.xml"/><Relationship Id="rId7" Type="http://schemas.openxmlformats.org/officeDocument/2006/relationships/slideLayout" Target="../slideLayouts/slideLayout16.xml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6" Type="http://schemas.openxmlformats.org/officeDocument/2006/relationships/slideLayout" Target="../slideLayouts/slideLayout15.xml"/><Relationship Id="rId11" Type="http://schemas.openxmlformats.org/officeDocument/2006/relationships/image" Target="../media/image2.jpg"/><Relationship Id="rId5" Type="http://schemas.openxmlformats.org/officeDocument/2006/relationships/slideLayout" Target="../slideLayouts/slideLayout14.xml"/><Relationship Id="rId10" Type="http://schemas.openxmlformats.org/officeDocument/2006/relationships/theme" Target="../theme/theme2.xml"/><Relationship Id="rId4" Type="http://schemas.openxmlformats.org/officeDocument/2006/relationships/slideLayout" Target="../slideLayouts/slideLayout13.xml"/><Relationship Id="rId9" Type="http://schemas.openxmlformats.org/officeDocument/2006/relationships/slideLayout" Target="../slideLayouts/slideLayout18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.xml"/><Relationship Id="rId3" Type="http://schemas.openxmlformats.org/officeDocument/2006/relationships/slideLayout" Target="../slideLayouts/slideLayout21.xml"/><Relationship Id="rId7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11" Type="http://schemas.openxmlformats.org/officeDocument/2006/relationships/image" Target="../media/image3.jpg"/><Relationship Id="rId5" Type="http://schemas.openxmlformats.org/officeDocument/2006/relationships/slideLayout" Target="../slideLayouts/slideLayout23.xml"/><Relationship Id="rId10" Type="http://schemas.openxmlformats.org/officeDocument/2006/relationships/theme" Target="../theme/theme3.xml"/><Relationship Id="rId4" Type="http://schemas.openxmlformats.org/officeDocument/2006/relationships/slideLayout" Target="../slideLayouts/slideLayout22.xml"/><Relationship Id="rId9" Type="http://schemas.openxmlformats.org/officeDocument/2006/relationships/slideLayout" Target="../slideLayouts/slideLayout27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5.xml"/><Relationship Id="rId13" Type="http://schemas.openxmlformats.org/officeDocument/2006/relationships/theme" Target="../theme/theme4.xml"/><Relationship Id="rId3" Type="http://schemas.openxmlformats.org/officeDocument/2006/relationships/slideLayout" Target="../slideLayouts/slideLayout30.xml"/><Relationship Id="rId7" Type="http://schemas.openxmlformats.org/officeDocument/2006/relationships/slideLayout" Target="../slideLayouts/slideLayout34.xml"/><Relationship Id="rId12" Type="http://schemas.openxmlformats.org/officeDocument/2006/relationships/slideLayout" Target="../slideLayouts/slideLayout39.xml"/><Relationship Id="rId2" Type="http://schemas.openxmlformats.org/officeDocument/2006/relationships/slideLayout" Target="../slideLayouts/slideLayout29.xml"/><Relationship Id="rId1" Type="http://schemas.openxmlformats.org/officeDocument/2006/relationships/slideLayout" Target="../slideLayouts/slideLayout28.xml"/><Relationship Id="rId6" Type="http://schemas.openxmlformats.org/officeDocument/2006/relationships/slideLayout" Target="../slideLayouts/slideLayout33.xml"/><Relationship Id="rId11" Type="http://schemas.openxmlformats.org/officeDocument/2006/relationships/slideLayout" Target="../slideLayouts/slideLayout38.xml"/><Relationship Id="rId5" Type="http://schemas.openxmlformats.org/officeDocument/2006/relationships/slideLayout" Target="../slideLayouts/slideLayout32.xml"/><Relationship Id="rId10" Type="http://schemas.openxmlformats.org/officeDocument/2006/relationships/slideLayout" Target="../slideLayouts/slideLayout37.xml"/><Relationship Id="rId4" Type="http://schemas.openxmlformats.org/officeDocument/2006/relationships/slideLayout" Target="../slideLayouts/slideLayout31.xml"/><Relationship Id="rId9" Type="http://schemas.openxmlformats.org/officeDocument/2006/relationships/slideLayout" Target="../slideLayouts/slideLayout36.xml"/><Relationship Id="rId14" Type="http://schemas.openxmlformats.org/officeDocument/2006/relationships/image" Target="../media/image4.jp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7.xml"/><Relationship Id="rId3" Type="http://schemas.openxmlformats.org/officeDocument/2006/relationships/slideLayout" Target="../slideLayouts/slideLayout42.xml"/><Relationship Id="rId7" Type="http://schemas.openxmlformats.org/officeDocument/2006/relationships/slideLayout" Target="../slideLayouts/slideLayout46.xml"/><Relationship Id="rId2" Type="http://schemas.openxmlformats.org/officeDocument/2006/relationships/slideLayout" Target="../slideLayouts/slideLayout41.xml"/><Relationship Id="rId1" Type="http://schemas.openxmlformats.org/officeDocument/2006/relationships/slideLayout" Target="../slideLayouts/slideLayout40.xml"/><Relationship Id="rId6" Type="http://schemas.openxmlformats.org/officeDocument/2006/relationships/slideLayout" Target="../slideLayouts/slideLayout45.xml"/><Relationship Id="rId11" Type="http://schemas.openxmlformats.org/officeDocument/2006/relationships/image" Target="../media/image5.jpg"/><Relationship Id="rId5" Type="http://schemas.openxmlformats.org/officeDocument/2006/relationships/slideLayout" Target="../slideLayouts/slideLayout44.xml"/><Relationship Id="rId10" Type="http://schemas.openxmlformats.org/officeDocument/2006/relationships/theme" Target="../theme/theme5.xml"/><Relationship Id="rId4" Type="http://schemas.openxmlformats.org/officeDocument/2006/relationships/slideLayout" Target="../slideLayouts/slideLayout43.xml"/><Relationship Id="rId9" Type="http://schemas.openxmlformats.org/officeDocument/2006/relationships/slideLayout" Target="../slideLayouts/slideLayout48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6.xml"/><Relationship Id="rId3" Type="http://schemas.openxmlformats.org/officeDocument/2006/relationships/slideLayout" Target="../slideLayouts/slideLayout51.xml"/><Relationship Id="rId7" Type="http://schemas.openxmlformats.org/officeDocument/2006/relationships/slideLayout" Target="../slideLayouts/slideLayout55.xml"/><Relationship Id="rId2" Type="http://schemas.openxmlformats.org/officeDocument/2006/relationships/slideLayout" Target="../slideLayouts/slideLayout50.xml"/><Relationship Id="rId1" Type="http://schemas.openxmlformats.org/officeDocument/2006/relationships/slideLayout" Target="../slideLayouts/slideLayout49.xml"/><Relationship Id="rId6" Type="http://schemas.openxmlformats.org/officeDocument/2006/relationships/slideLayout" Target="../slideLayouts/slideLayout54.xml"/><Relationship Id="rId11" Type="http://schemas.openxmlformats.org/officeDocument/2006/relationships/image" Target="../media/image6.jpg"/><Relationship Id="rId5" Type="http://schemas.openxmlformats.org/officeDocument/2006/relationships/slideLayout" Target="../slideLayouts/slideLayout53.xml"/><Relationship Id="rId10" Type="http://schemas.openxmlformats.org/officeDocument/2006/relationships/theme" Target="../theme/theme6.xml"/><Relationship Id="rId4" Type="http://schemas.openxmlformats.org/officeDocument/2006/relationships/slideLayout" Target="../slideLayouts/slideLayout52.xml"/><Relationship Id="rId9" Type="http://schemas.openxmlformats.org/officeDocument/2006/relationships/slideLayout" Target="../slideLayouts/slideLayout5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11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989592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TITLE</a:t>
            </a:r>
            <a:endParaRPr lang="sk-SK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2341755"/>
            <a:ext cx="10515600" cy="353493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sk-SK"/>
              <a:t>Kliknite sem a upravte štýly predlohy textu</a:t>
            </a:r>
          </a:p>
          <a:p>
            <a:pPr lvl="1"/>
            <a:r>
              <a:rPr lang="sk-SK"/>
              <a:t>Druhá úroveň</a:t>
            </a:r>
          </a:p>
          <a:p>
            <a:pPr lvl="2"/>
            <a:r>
              <a:rPr lang="sk-SK"/>
              <a:t>Tretia úroveň</a:t>
            </a:r>
          </a:p>
          <a:p>
            <a:pPr lvl="3"/>
            <a:r>
              <a:rPr lang="sk-SK"/>
              <a:t>Štvrtá úroveň</a:t>
            </a:r>
          </a:p>
          <a:p>
            <a:pPr lvl="4"/>
            <a:r>
              <a:rPr lang="sk-SK"/>
              <a:t>Piata úroveň</a:t>
            </a:r>
            <a:endParaRPr lang="sk-SK" dirty="0"/>
          </a:p>
        </p:txBody>
      </p:sp>
    </p:spTree>
    <p:extLst>
      <p:ext uri="{BB962C8B-B14F-4D97-AF65-F5344CB8AC3E}">
        <p14:creationId xmlns:p14="http://schemas.microsoft.com/office/powerpoint/2010/main" val="2056410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  <p:sldLayoutId id="2147483680" r:id="rId2"/>
    <p:sldLayoutId id="2147483681" r:id="rId3"/>
    <p:sldLayoutId id="2147483682" r:id="rId4"/>
    <p:sldLayoutId id="2147483683" r:id="rId5"/>
    <p:sldLayoutId id="2147483684" r:id="rId6"/>
    <p:sldLayoutId id="2147483685" r:id="rId7"/>
    <p:sldLayoutId id="2147483686" r:id="rId8"/>
    <p:sldLayoutId id="2147483687" r:id="rId9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rgbClr val="000000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bg2">
              <a:lumMod val="25000"/>
            </a:schemeClr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bg2">
              <a:lumMod val="75000"/>
            </a:schemeClr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k-S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11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989592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TITLE</a:t>
            </a:r>
            <a:endParaRPr lang="sk-SK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2341755"/>
            <a:ext cx="10515600" cy="353493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k-SK" dirty="0"/>
          </a:p>
        </p:txBody>
      </p:sp>
    </p:spTree>
    <p:extLst>
      <p:ext uri="{BB962C8B-B14F-4D97-AF65-F5344CB8AC3E}">
        <p14:creationId xmlns:p14="http://schemas.microsoft.com/office/powerpoint/2010/main" val="35415237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9" r:id="rId1"/>
    <p:sldLayoutId id="2147483710" r:id="rId2"/>
    <p:sldLayoutId id="2147483711" r:id="rId3"/>
    <p:sldLayoutId id="2147483712" r:id="rId4"/>
    <p:sldLayoutId id="2147483713" r:id="rId5"/>
    <p:sldLayoutId id="2147483714" r:id="rId6"/>
    <p:sldLayoutId id="2147483715" r:id="rId7"/>
    <p:sldLayoutId id="2147483716" r:id="rId8"/>
    <p:sldLayoutId id="2147483717" r:id="rId9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rgbClr val="000000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bg2">
              <a:lumMod val="25000"/>
            </a:schemeClr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bg2">
              <a:lumMod val="75000"/>
            </a:schemeClr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k-S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11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989592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TITLE</a:t>
            </a:r>
            <a:endParaRPr lang="sk-SK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2341755"/>
            <a:ext cx="10515600" cy="353493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k-SK" dirty="0"/>
          </a:p>
        </p:txBody>
      </p:sp>
    </p:spTree>
    <p:extLst>
      <p:ext uri="{BB962C8B-B14F-4D97-AF65-F5344CB8AC3E}">
        <p14:creationId xmlns:p14="http://schemas.microsoft.com/office/powerpoint/2010/main" val="38603274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9" r:id="rId1"/>
    <p:sldLayoutId id="2147483690" r:id="rId2"/>
    <p:sldLayoutId id="2147483691" r:id="rId3"/>
    <p:sldLayoutId id="2147483692" r:id="rId4"/>
    <p:sldLayoutId id="2147483693" r:id="rId5"/>
    <p:sldLayoutId id="2147483694" r:id="rId6"/>
    <p:sldLayoutId id="2147483695" r:id="rId7"/>
    <p:sldLayoutId id="2147483696" r:id="rId8"/>
    <p:sldLayoutId id="2147483697" r:id="rId9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rgbClr val="000000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bg2">
              <a:lumMod val="25000"/>
            </a:schemeClr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bg2">
              <a:lumMod val="75000"/>
            </a:schemeClr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k-S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1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989592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TITLE</a:t>
            </a:r>
            <a:endParaRPr lang="sk-SK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2341755"/>
            <a:ext cx="10515600" cy="353493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k-SK" dirty="0"/>
          </a:p>
        </p:txBody>
      </p:sp>
    </p:spTree>
    <p:extLst>
      <p:ext uri="{BB962C8B-B14F-4D97-AF65-F5344CB8AC3E}">
        <p14:creationId xmlns:p14="http://schemas.microsoft.com/office/powerpoint/2010/main" val="42234602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9" r:id="rId1"/>
    <p:sldLayoutId id="2147483700" r:id="rId2"/>
    <p:sldLayoutId id="2147483701" r:id="rId3"/>
    <p:sldLayoutId id="2147483702" r:id="rId4"/>
    <p:sldLayoutId id="2147483703" r:id="rId5"/>
    <p:sldLayoutId id="2147483704" r:id="rId6"/>
    <p:sldLayoutId id="2147483705" r:id="rId7"/>
    <p:sldLayoutId id="2147483706" r:id="rId8"/>
    <p:sldLayoutId id="2147483707" r:id="rId9"/>
    <p:sldLayoutId id="2147483718" r:id="rId10"/>
    <p:sldLayoutId id="2147483719" r:id="rId11"/>
    <p:sldLayoutId id="214748372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rgbClr val="000000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bg2">
              <a:lumMod val="25000"/>
            </a:schemeClr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bg2">
              <a:lumMod val="75000"/>
            </a:schemeClr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k-S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11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989592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TITLE</a:t>
            </a:r>
            <a:endParaRPr lang="sk-SK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2341755"/>
            <a:ext cx="10515600" cy="353493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sk-SK" dirty="0"/>
          </a:p>
        </p:txBody>
      </p:sp>
    </p:spTree>
    <p:extLst>
      <p:ext uri="{BB962C8B-B14F-4D97-AF65-F5344CB8AC3E}">
        <p14:creationId xmlns:p14="http://schemas.microsoft.com/office/powerpoint/2010/main" val="626290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9" r:id="rId1"/>
    <p:sldLayoutId id="2147483660" r:id="rId2"/>
    <p:sldLayoutId id="2147483661" r:id="rId3"/>
    <p:sldLayoutId id="2147483662" r:id="rId4"/>
    <p:sldLayoutId id="2147483663" r:id="rId5"/>
    <p:sldLayoutId id="2147483664" r:id="rId6"/>
    <p:sldLayoutId id="2147483665" r:id="rId7"/>
    <p:sldLayoutId id="2147483666" r:id="rId8"/>
    <p:sldLayoutId id="2147483667" r:id="rId9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bg2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bg2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bg2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bg2">
              <a:lumMod val="75000"/>
            </a:schemeClr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k-S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11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989592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TITLE</a:t>
            </a:r>
            <a:endParaRPr lang="sk-SK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2341755"/>
            <a:ext cx="10515600" cy="353493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sk-SK" dirty="0"/>
          </a:p>
        </p:txBody>
      </p:sp>
    </p:spTree>
    <p:extLst>
      <p:ext uri="{BB962C8B-B14F-4D97-AF65-F5344CB8AC3E}">
        <p14:creationId xmlns:p14="http://schemas.microsoft.com/office/powerpoint/2010/main" val="188229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  <p:sldLayoutId id="2147483670" r:id="rId2"/>
    <p:sldLayoutId id="2147483671" r:id="rId3"/>
    <p:sldLayoutId id="2147483672" r:id="rId4"/>
    <p:sldLayoutId id="2147483673" r:id="rId5"/>
    <p:sldLayoutId id="2147483674" r:id="rId6"/>
    <p:sldLayoutId id="2147483675" r:id="rId7"/>
    <p:sldLayoutId id="2147483676" r:id="rId8"/>
    <p:sldLayoutId id="2147483677" r:id="rId9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bg2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bg2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bg2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bg2">
              <a:lumMod val="75000"/>
            </a:schemeClr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k-S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mailto:kozak@axenta.cz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7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38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39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12.xml.rels><?xml version="1.0" encoding="UTF-8" standalone="yes"?>
<Relationships xmlns="http://schemas.openxmlformats.org/package/2006/relationships"><Relationship Id="rId8" Type="http://schemas.microsoft.com/office/2007/relationships/diagramDrawing" Target="../diagrams/drawing3.xml"/><Relationship Id="rId3" Type="http://schemas.openxmlformats.org/officeDocument/2006/relationships/image" Target="../media/image1150.png"/><Relationship Id="rId7" Type="http://schemas.openxmlformats.org/officeDocument/2006/relationships/diagramColors" Target="../diagrams/colors3.xml"/><Relationship Id="rId2" Type="http://schemas.openxmlformats.org/officeDocument/2006/relationships/customXml" Target="../ink/ink1.xml"/><Relationship Id="rId1" Type="http://schemas.openxmlformats.org/officeDocument/2006/relationships/slideLayout" Target="../slideLayouts/slideLayout39.xml"/><Relationship Id="rId6" Type="http://schemas.openxmlformats.org/officeDocument/2006/relationships/diagramQuickStyle" Target="../diagrams/quickStyle3.xml"/><Relationship Id="rId5" Type="http://schemas.openxmlformats.org/officeDocument/2006/relationships/diagramLayout" Target="../diagrams/layout3.xml"/><Relationship Id="rId4" Type="http://schemas.openxmlformats.org/officeDocument/2006/relationships/diagramData" Target="../diagrams/data3.xml"/><Relationship Id="rId9" Type="http://schemas.openxmlformats.org/officeDocument/2006/relationships/image" Target="../media/image28.jpeg"/></Relationships>
</file>

<file path=ppt/slides/_rels/slide13.xml.rels><?xml version="1.0" encoding="UTF-8" standalone="yes"?>
<Relationships xmlns="http://schemas.openxmlformats.org/package/2006/relationships"><Relationship Id="rId8" Type="http://schemas.microsoft.com/office/2007/relationships/diagramDrawing" Target="../diagrams/drawing4.xml"/><Relationship Id="rId3" Type="http://schemas.openxmlformats.org/officeDocument/2006/relationships/image" Target="../media/image1150.png"/><Relationship Id="rId7" Type="http://schemas.openxmlformats.org/officeDocument/2006/relationships/diagramColors" Target="../diagrams/colors4.xml"/><Relationship Id="rId2" Type="http://schemas.openxmlformats.org/officeDocument/2006/relationships/customXml" Target="../ink/ink2.xml"/><Relationship Id="rId1" Type="http://schemas.openxmlformats.org/officeDocument/2006/relationships/slideLayout" Target="../slideLayouts/slideLayout39.xml"/><Relationship Id="rId6" Type="http://schemas.openxmlformats.org/officeDocument/2006/relationships/diagramQuickStyle" Target="../diagrams/quickStyle4.xml"/><Relationship Id="rId5" Type="http://schemas.openxmlformats.org/officeDocument/2006/relationships/diagramLayout" Target="../diagrams/layout4.xml"/><Relationship Id="rId4" Type="http://schemas.openxmlformats.org/officeDocument/2006/relationships/diagramData" Target="../diagrams/data4.xml"/><Relationship Id="rId9" Type="http://schemas.openxmlformats.org/officeDocument/2006/relationships/image" Target="../media/image29.jpeg"/></Relationships>
</file>

<file path=ppt/slides/_rels/slide14.xml.rels><?xml version="1.0" encoding="UTF-8" standalone="yes"?>
<Relationships xmlns="http://schemas.openxmlformats.org/package/2006/relationships"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26" Type="http://schemas.openxmlformats.org/officeDocument/2006/relationships/tags" Target="../tags/tag26.xml"/><Relationship Id="rId39" Type="http://schemas.openxmlformats.org/officeDocument/2006/relationships/image" Target="../media/image32.png"/><Relationship Id="rId21" Type="http://schemas.openxmlformats.org/officeDocument/2006/relationships/tags" Target="../tags/tag21.xml"/><Relationship Id="rId34" Type="http://schemas.openxmlformats.org/officeDocument/2006/relationships/tags" Target="../tags/tag34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5" Type="http://schemas.openxmlformats.org/officeDocument/2006/relationships/tags" Target="../tags/tag25.xml"/><Relationship Id="rId33" Type="http://schemas.openxmlformats.org/officeDocument/2006/relationships/tags" Target="../tags/tag33.xml"/><Relationship Id="rId38" Type="http://schemas.openxmlformats.org/officeDocument/2006/relationships/image" Target="../media/image31.png"/><Relationship Id="rId2" Type="http://schemas.openxmlformats.org/officeDocument/2006/relationships/tags" Target="../tags/tag2.xml"/><Relationship Id="rId16" Type="http://schemas.openxmlformats.org/officeDocument/2006/relationships/tags" Target="../tags/tag16.xml"/><Relationship Id="rId20" Type="http://schemas.openxmlformats.org/officeDocument/2006/relationships/tags" Target="../tags/tag20.xml"/><Relationship Id="rId29" Type="http://schemas.openxmlformats.org/officeDocument/2006/relationships/tags" Target="../tags/tag29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24" Type="http://schemas.openxmlformats.org/officeDocument/2006/relationships/tags" Target="../tags/tag24.xml"/><Relationship Id="rId32" Type="http://schemas.openxmlformats.org/officeDocument/2006/relationships/tags" Target="../tags/tag32.xml"/><Relationship Id="rId37" Type="http://schemas.openxmlformats.org/officeDocument/2006/relationships/image" Target="../media/image30.png"/><Relationship Id="rId5" Type="http://schemas.openxmlformats.org/officeDocument/2006/relationships/tags" Target="../tags/tag5.xml"/><Relationship Id="rId15" Type="http://schemas.openxmlformats.org/officeDocument/2006/relationships/tags" Target="../tags/tag15.xml"/><Relationship Id="rId23" Type="http://schemas.openxmlformats.org/officeDocument/2006/relationships/tags" Target="../tags/tag23.xml"/><Relationship Id="rId28" Type="http://schemas.openxmlformats.org/officeDocument/2006/relationships/tags" Target="../tags/tag28.xml"/><Relationship Id="rId36" Type="http://schemas.openxmlformats.org/officeDocument/2006/relationships/slideLayout" Target="../slideLayouts/slideLayout39.xml"/><Relationship Id="rId10" Type="http://schemas.openxmlformats.org/officeDocument/2006/relationships/tags" Target="../tags/tag10.xml"/><Relationship Id="rId19" Type="http://schemas.openxmlformats.org/officeDocument/2006/relationships/tags" Target="../tags/tag19.xml"/><Relationship Id="rId31" Type="http://schemas.openxmlformats.org/officeDocument/2006/relationships/tags" Target="../tags/tag31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Relationship Id="rId22" Type="http://schemas.openxmlformats.org/officeDocument/2006/relationships/tags" Target="../tags/tag22.xml"/><Relationship Id="rId27" Type="http://schemas.openxmlformats.org/officeDocument/2006/relationships/tags" Target="../tags/tag27.xml"/><Relationship Id="rId30" Type="http://schemas.openxmlformats.org/officeDocument/2006/relationships/tags" Target="../tags/tag30.xml"/><Relationship Id="rId35" Type="http://schemas.openxmlformats.org/officeDocument/2006/relationships/tags" Target="../tags/tag35.xml"/><Relationship Id="rId8" Type="http://schemas.openxmlformats.org/officeDocument/2006/relationships/tags" Target="../tags/tag8.xml"/><Relationship Id="rId3" Type="http://schemas.openxmlformats.org/officeDocument/2006/relationships/tags" Target="../tags/tag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8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9.xml"/><Relationship Id="rId5" Type="http://schemas.openxmlformats.org/officeDocument/2006/relationships/image" Target="../media/image9.jpeg"/><Relationship Id="rId4" Type="http://schemas.openxmlformats.org/officeDocument/2006/relationships/image" Target="../media/image8.jpe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13" Type="http://schemas.openxmlformats.org/officeDocument/2006/relationships/image" Target="../media/image20.png"/><Relationship Id="rId3" Type="http://schemas.openxmlformats.org/officeDocument/2006/relationships/image" Target="../media/image10.png"/><Relationship Id="rId7" Type="http://schemas.openxmlformats.org/officeDocument/2006/relationships/image" Target="../media/image14.png"/><Relationship Id="rId12" Type="http://schemas.openxmlformats.org/officeDocument/2006/relationships/image" Target="../media/image19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9.xml"/><Relationship Id="rId6" Type="http://schemas.openxmlformats.org/officeDocument/2006/relationships/image" Target="../media/image13.jpeg"/><Relationship Id="rId11" Type="http://schemas.openxmlformats.org/officeDocument/2006/relationships/image" Target="../media/image18.png"/><Relationship Id="rId5" Type="http://schemas.openxmlformats.org/officeDocument/2006/relationships/image" Target="../media/image12.png"/><Relationship Id="rId15" Type="http://schemas.openxmlformats.org/officeDocument/2006/relationships/image" Target="../media/image22.png"/><Relationship Id="rId10" Type="http://schemas.openxmlformats.org/officeDocument/2006/relationships/image" Target="../media/image17.png"/><Relationship Id="rId4" Type="http://schemas.openxmlformats.org/officeDocument/2006/relationships/image" Target="../media/image11.svg"/><Relationship Id="rId9" Type="http://schemas.openxmlformats.org/officeDocument/2006/relationships/image" Target="../media/image16.png"/><Relationship Id="rId14" Type="http://schemas.openxmlformats.org/officeDocument/2006/relationships/image" Target="../media/image21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eg"/><Relationship Id="rId1" Type="http://schemas.openxmlformats.org/officeDocument/2006/relationships/slideLayout" Target="../slideLayouts/slideLayout38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8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38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gif"/><Relationship Id="rId1" Type="http://schemas.openxmlformats.org/officeDocument/2006/relationships/slideLayout" Target="../slideLayouts/slideLayout38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Nadpis 17">
            <a:extLst>
              <a:ext uri="{FF2B5EF4-FFF2-40B4-BE49-F238E27FC236}">
                <a16:creationId xmlns:a16="http://schemas.microsoft.com/office/drawing/2014/main" id="{16C2D705-1E75-2358-1029-4056C1B2A9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3819" y="163460"/>
            <a:ext cx="9277350" cy="5842000"/>
          </a:xfrm>
        </p:spPr>
        <p:txBody>
          <a:bodyPr/>
          <a:lstStyle/>
          <a:p>
            <a:pPr>
              <a:lnSpc>
                <a:spcPct val="110000"/>
              </a:lnSpc>
            </a:pPr>
            <a:r>
              <a:rPr lang="cs-CZ" sz="7200" spc="-500" baseline="30000" dirty="0">
                <a:solidFill>
                  <a:schemeClr val="tx2"/>
                </a:solidFill>
                <a:latin typeface="Tw Cen MT" panose="020B0602020104020603" pitchFamily="34" charset="-18"/>
              </a:rPr>
              <a:t>Od hrozby k odolnosti: kybernetická bezpečnost v kontextu dnešní doby</a:t>
            </a:r>
            <a:br>
              <a:rPr lang="cs-CZ" sz="7200" spc="-500" baseline="30000" dirty="0">
                <a:solidFill>
                  <a:schemeClr val="tx2"/>
                </a:solidFill>
                <a:latin typeface="Tw Cen MT" panose="020B0602020104020603" pitchFamily="34" charset="-18"/>
              </a:rPr>
            </a:br>
            <a:r>
              <a:rPr lang="cs-CZ" sz="7200" spc="-500" baseline="30000" dirty="0">
                <a:solidFill>
                  <a:schemeClr val="tx2"/>
                </a:solidFill>
                <a:latin typeface="Tw Cen MT" panose="020B0602020104020603" pitchFamily="34" charset="-18"/>
              </a:rPr>
              <a:t>-</a:t>
            </a:r>
            <a:br>
              <a:rPr lang="cs-CZ" sz="7200" spc="-500" baseline="30000" dirty="0">
                <a:solidFill>
                  <a:schemeClr val="tx2"/>
                </a:solidFill>
                <a:latin typeface="Tw Cen MT" panose="020B0602020104020603" pitchFamily="34" charset="-18"/>
              </a:rPr>
            </a:br>
            <a:r>
              <a:rPr lang="cs-CZ" sz="7200" spc="-500" baseline="30000" dirty="0">
                <a:solidFill>
                  <a:schemeClr val="tx2"/>
                </a:solidFill>
                <a:latin typeface="Tw Cen MT" panose="020B0602020104020603" pitchFamily="34" charset="-18"/>
              </a:rPr>
              <a:t> těžko na cvičišti, lehko na bojišti</a:t>
            </a: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A8C1BD9D-79B0-1868-1446-EA9FF19CFCD5}"/>
              </a:ext>
            </a:extLst>
          </p:cNvPr>
          <p:cNvSpPr txBox="1"/>
          <p:nvPr/>
        </p:nvSpPr>
        <p:spPr>
          <a:xfrm>
            <a:off x="7310537" y="4983244"/>
            <a:ext cx="6387372" cy="1631216"/>
          </a:xfrm>
          <a:prstGeom prst="rect">
            <a:avLst/>
          </a:prstGeom>
          <a:noFill/>
          <a:effectLst/>
        </p:spPr>
        <p:txBody>
          <a:bodyPr wrap="square">
            <a:spAutoFit/>
          </a:bodyPr>
          <a:lstStyle/>
          <a:p>
            <a:r>
              <a:rPr lang="cs-CZ" sz="2000" b="1" dirty="0">
                <a:solidFill>
                  <a:schemeClr val="tx2"/>
                </a:solidFill>
              </a:rPr>
              <a:t>Jan Kozák, </a:t>
            </a:r>
            <a:r>
              <a:rPr lang="cs-CZ" sz="2000" b="1" dirty="0" err="1">
                <a:solidFill>
                  <a:schemeClr val="tx2"/>
                </a:solidFill>
              </a:rPr>
              <a:t>Chief</a:t>
            </a:r>
            <a:r>
              <a:rPr lang="cs-CZ" sz="2000" b="1" dirty="0">
                <a:solidFill>
                  <a:schemeClr val="tx2"/>
                </a:solidFill>
              </a:rPr>
              <a:t> </a:t>
            </a:r>
            <a:r>
              <a:rPr lang="cs-CZ" sz="2000" b="1" dirty="0" err="1">
                <a:solidFill>
                  <a:schemeClr val="tx2"/>
                </a:solidFill>
              </a:rPr>
              <a:t>Operating</a:t>
            </a:r>
            <a:r>
              <a:rPr lang="cs-CZ" sz="2000" b="1" dirty="0">
                <a:solidFill>
                  <a:schemeClr val="tx2"/>
                </a:solidFill>
              </a:rPr>
              <a:t> </a:t>
            </a:r>
            <a:r>
              <a:rPr lang="cs-CZ" sz="2000" b="1" dirty="0" err="1">
                <a:solidFill>
                  <a:schemeClr val="tx2"/>
                </a:solidFill>
              </a:rPr>
              <a:t>Officer</a:t>
            </a:r>
            <a:endParaRPr lang="cs-CZ" sz="2000" b="1" dirty="0">
              <a:solidFill>
                <a:schemeClr val="tx2"/>
              </a:solidFill>
            </a:endParaRPr>
          </a:p>
          <a:p>
            <a:r>
              <a:rPr lang="cs-CZ" sz="2000" b="1" dirty="0">
                <a:solidFill>
                  <a:schemeClr val="bg1"/>
                </a:solidFill>
                <a:hlinkClick r:id="rId3"/>
              </a:rPr>
              <a:t>kozak@axenta.cz</a:t>
            </a:r>
            <a:endParaRPr lang="cs-CZ" sz="2000" b="1" dirty="0">
              <a:solidFill>
                <a:schemeClr val="bg1"/>
              </a:solidFill>
            </a:endParaRPr>
          </a:p>
          <a:p>
            <a:endParaRPr lang="cs-CZ" sz="2000" b="1" dirty="0">
              <a:solidFill>
                <a:schemeClr val="bg1"/>
              </a:solidFill>
            </a:endParaRPr>
          </a:p>
          <a:p>
            <a:endParaRPr lang="cs-CZ" sz="2000" b="1" dirty="0">
              <a:solidFill>
                <a:schemeClr val="bg1"/>
              </a:solidFill>
            </a:endParaRPr>
          </a:p>
          <a:p>
            <a:endParaRPr lang="cs-CZ" sz="20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38034487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>
        <p15:prstTrans prst="pageCurlDouble"/>
      </p:transition>
    </mc:Choice>
    <mc:Fallback xmlns="">
      <p:transition spd="slow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Evropská unie – Wikipedie">
            <a:extLst>
              <a:ext uri="{FF2B5EF4-FFF2-40B4-BE49-F238E27FC236}">
                <a16:creationId xmlns:a16="http://schemas.microsoft.com/office/drawing/2014/main" id="{BE689D06-F468-0381-3F1E-7BCA57AF98A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3304" y="2565302"/>
            <a:ext cx="2760001" cy="18366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Nadpis 2">
            <a:extLst>
              <a:ext uri="{FF2B5EF4-FFF2-40B4-BE49-F238E27FC236}">
                <a16:creationId xmlns:a16="http://schemas.microsoft.com/office/drawing/2014/main" id="{411D04FC-6BC9-A32A-7ECA-1C885D64EEE9}"/>
              </a:ext>
            </a:extLst>
          </p:cNvPr>
          <p:cNvSpPr txBox="1">
            <a:spLocks/>
          </p:cNvSpPr>
          <p:nvPr/>
        </p:nvSpPr>
        <p:spPr>
          <a:xfrm>
            <a:off x="1218691" y="514029"/>
            <a:ext cx="8350250" cy="884237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318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b="1" i="0" kern="1200" spc="-150" baseline="0">
                <a:solidFill>
                  <a:schemeClr val="tx1"/>
                </a:solidFill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defRPr>
            </a:lvl1pPr>
          </a:lstStyle>
          <a:p>
            <a:r>
              <a:rPr lang="cs-CZ" dirty="0">
                <a:solidFill>
                  <a:schemeClr val="tx2"/>
                </a:solidFill>
              </a:rPr>
              <a:t>Hlavní </a:t>
            </a:r>
            <a:r>
              <a:rPr lang="cs-CZ" dirty="0">
                <a:solidFill>
                  <a:srgbClr val="FF0000"/>
                </a:solidFill>
              </a:rPr>
              <a:t>motivace </a:t>
            </a:r>
            <a:r>
              <a:rPr lang="cs-CZ" dirty="0">
                <a:solidFill>
                  <a:schemeClr val="tx2"/>
                </a:solidFill>
              </a:rPr>
              <a:t>Evropské</a:t>
            </a:r>
            <a:r>
              <a:rPr lang="cs-CZ" dirty="0"/>
              <a:t> </a:t>
            </a:r>
            <a:r>
              <a:rPr lang="cs-CZ" dirty="0">
                <a:solidFill>
                  <a:srgbClr val="FF0000"/>
                </a:solidFill>
              </a:rPr>
              <a:t>unie</a:t>
            </a:r>
            <a:r>
              <a:rPr lang="cs-CZ" dirty="0"/>
              <a:t> </a:t>
            </a:r>
          </a:p>
        </p:txBody>
      </p:sp>
      <p:graphicFrame>
        <p:nvGraphicFramePr>
          <p:cNvPr id="5" name="Diagram 4">
            <a:extLst>
              <a:ext uri="{FF2B5EF4-FFF2-40B4-BE49-F238E27FC236}">
                <a16:creationId xmlns:a16="http://schemas.microsoft.com/office/drawing/2014/main" id="{CB612F70-AAB0-684F-BB1D-66112A95C0B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042685360"/>
              </p:ext>
            </p:extLst>
          </p:nvPr>
        </p:nvGraphicFramePr>
        <p:xfrm>
          <a:off x="2774644" y="1711747"/>
          <a:ext cx="9528252" cy="369766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2001221723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>
        <p15:prstTrans prst="pageCurlDouble"/>
      </p:transition>
    </mc:Choice>
    <mc:Fallback xmlns="">
      <p:transition spd="slow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Zástupný symbol pro obsah 3">
            <a:extLst>
              <a:ext uri="{FF2B5EF4-FFF2-40B4-BE49-F238E27FC236}">
                <a16:creationId xmlns:a16="http://schemas.microsoft.com/office/drawing/2014/main" id="{7A4ACBE8-6BBD-EEE6-E747-BD7077576B96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1176772" y="1576443"/>
          <a:ext cx="9345750" cy="397560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6" name="Rovnoramenný trojúhelník 5">
            <a:extLst>
              <a:ext uri="{FF2B5EF4-FFF2-40B4-BE49-F238E27FC236}">
                <a16:creationId xmlns:a16="http://schemas.microsoft.com/office/drawing/2014/main" id="{74121C97-0203-F6B1-F106-FAB033CC7A98}"/>
              </a:ext>
            </a:extLst>
          </p:cNvPr>
          <p:cNvSpPr/>
          <p:nvPr/>
        </p:nvSpPr>
        <p:spPr>
          <a:xfrm>
            <a:off x="778579" y="65649"/>
            <a:ext cx="10269415" cy="1078719"/>
          </a:xfrm>
          <a:prstGeom prst="triangle">
            <a:avLst/>
          </a:prstGeom>
          <a:solidFill>
            <a:srgbClr val="595959"/>
          </a:solidFill>
          <a:ln>
            <a:solidFill>
              <a:srgbClr val="59595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2800" b="1" dirty="0">
                <a:solidFill>
                  <a:schemeClr val="bg2"/>
                </a:solidFill>
              </a:rPr>
              <a:t>Kybernetická bezpečnost</a:t>
            </a:r>
          </a:p>
        </p:txBody>
      </p:sp>
      <p:sp>
        <p:nvSpPr>
          <p:cNvPr id="7" name="Obdélník 6">
            <a:extLst>
              <a:ext uri="{FF2B5EF4-FFF2-40B4-BE49-F238E27FC236}">
                <a16:creationId xmlns:a16="http://schemas.microsoft.com/office/drawing/2014/main" id="{1EC6C530-1916-B089-E6EE-C4B942BF62A1}"/>
              </a:ext>
            </a:extLst>
          </p:cNvPr>
          <p:cNvSpPr/>
          <p:nvPr/>
        </p:nvSpPr>
        <p:spPr>
          <a:xfrm>
            <a:off x="1066243" y="1144368"/>
            <a:ext cx="9620013" cy="391882"/>
          </a:xfrm>
          <a:prstGeom prst="rect">
            <a:avLst/>
          </a:prstGeom>
          <a:solidFill>
            <a:srgbClr val="595959"/>
          </a:solidFill>
          <a:ln>
            <a:solidFill>
              <a:srgbClr val="59595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8" name="Obdélník 7">
            <a:extLst>
              <a:ext uri="{FF2B5EF4-FFF2-40B4-BE49-F238E27FC236}">
                <a16:creationId xmlns:a16="http://schemas.microsoft.com/office/drawing/2014/main" id="{EC3BCE58-0902-D17D-AC32-B9A2D32DCB03}"/>
              </a:ext>
            </a:extLst>
          </p:cNvPr>
          <p:cNvSpPr/>
          <p:nvPr/>
        </p:nvSpPr>
        <p:spPr>
          <a:xfrm>
            <a:off x="1220705" y="5552046"/>
            <a:ext cx="2924070" cy="251209"/>
          </a:xfrm>
          <a:prstGeom prst="rect">
            <a:avLst/>
          </a:prstGeom>
          <a:solidFill>
            <a:srgbClr val="595959"/>
          </a:solidFill>
          <a:ln>
            <a:solidFill>
              <a:srgbClr val="59595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9" name="Obdélník 8">
            <a:extLst>
              <a:ext uri="{FF2B5EF4-FFF2-40B4-BE49-F238E27FC236}">
                <a16:creationId xmlns:a16="http://schemas.microsoft.com/office/drawing/2014/main" id="{04AD4B8D-837D-D1C4-D309-AAD77EA40334}"/>
              </a:ext>
            </a:extLst>
          </p:cNvPr>
          <p:cNvSpPr/>
          <p:nvPr/>
        </p:nvSpPr>
        <p:spPr>
          <a:xfrm>
            <a:off x="4387612" y="5562437"/>
            <a:ext cx="2924070" cy="251209"/>
          </a:xfrm>
          <a:prstGeom prst="rect">
            <a:avLst/>
          </a:prstGeom>
          <a:solidFill>
            <a:srgbClr val="59595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10" name="Obdélník 9">
            <a:extLst>
              <a:ext uri="{FF2B5EF4-FFF2-40B4-BE49-F238E27FC236}">
                <a16:creationId xmlns:a16="http://schemas.microsoft.com/office/drawing/2014/main" id="{43CA2EBE-977A-3915-61B3-CC0208596E98}"/>
              </a:ext>
            </a:extLst>
          </p:cNvPr>
          <p:cNvSpPr/>
          <p:nvPr/>
        </p:nvSpPr>
        <p:spPr>
          <a:xfrm>
            <a:off x="7594711" y="5552045"/>
            <a:ext cx="2924070" cy="251209"/>
          </a:xfrm>
          <a:prstGeom prst="rect">
            <a:avLst/>
          </a:prstGeom>
          <a:solidFill>
            <a:srgbClr val="595959"/>
          </a:solidFill>
          <a:ln>
            <a:solidFill>
              <a:srgbClr val="59595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11" name="Obdélník 10">
            <a:extLst>
              <a:ext uri="{FF2B5EF4-FFF2-40B4-BE49-F238E27FC236}">
                <a16:creationId xmlns:a16="http://schemas.microsoft.com/office/drawing/2014/main" id="{AAEC6281-EA24-0134-E095-1400DE6DDE50}"/>
              </a:ext>
            </a:extLst>
          </p:cNvPr>
          <p:cNvSpPr/>
          <p:nvPr/>
        </p:nvSpPr>
        <p:spPr>
          <a:xfrm>
            <a:off x="1131450" y="5803621"/>
            <a:ext cx="3083171" cy="251209"/>
          </a:xfrm>
          <a:prstGeom prst="rect">
            <a:avLst/>
          </a:prstGeom>
          <a:solidFill>
            <a:srgbClr val="595959"/>
          </a:solidFill>
          <a:ln>
            <a:solidFill>
              <a:srgbClr val="59595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12" name="Obdélník 11">
            <a:extLst>
              <a:ext uri="{FF2B5EF4-FFF2-40B4-BE49-F238E27FC236}">
                <a16:creationId xmlns:a16="http://schemas.microsoft.com/office/drawing/2014/main" id="{D1BAA65F-D7DC-05BC-4260-A6571B7F5B12}"/>
              </a:ext>
            </a:extLst>
          </p:cNvPr>
          <p:cNvSpPr/>
          <p:nvPr/>
        </p:nvSpPr>
        <p:spPr>
          <a:xfrm>
            <a:off x="4314224" y="5813301"/>
            <a:ext cx="3083171" cy="251209"/>
          </a:xfrm>
          <a:prstGeom prst="rect">
            <a:avLst/>
          </a:prstGeom>
          <a:solidFill>
            <a:srgbClr val="59595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13" name="Obdélník 12">
            <a:extLst>
              <a:ext uri="{FF2B5EF4-FFF2-40B4-BE49-F238E27FC236}">
                <a16:creationId xmlns:a16="http://schemas.microsoft.com/office/drawing/2014/main" id="{BAF14C8B-1D0E-A544-44EE-829643754613}"/>
              </a:ext>
            </a:extLst>
          </p:cNvPr>
          <p:cNvSpPr/>
          <p:nvPr/>
        </p:nvSpPr>
        <p:spPr>
          <a:xfrm>
            <a:off x="7528171" y="5797542"/>
            <a:ext cx="3083171" cy="251209"/>
          </a:xfrm>
          <a:prstGeom prst="rect">
            <a:avLst/>
          </a:prstGeom>
          <a:solidFill>
            <a:srgbClr val="595959"/>
          </a:solidFill>
          <a:ln>
            <a:solidFill>
              <a:srgbClr val="59595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1122018814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>
        <p15:prstTrans prst="pageCurlDouble"/>
      </p:transition>
    </mc:Choice>
    <mc:Fallback xmlns="">
      <p:transition spd="slow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Nadpis 2">
            <a:extLst>
              <a:ext uri="{FF2B5EF4-FFF2-40B4-BE49-F238E27FC236}">
                <a16:creationId xmlns:a16="http://schemas.microsoft.com/office/drawing/2014/main" id="{8A6FECDC-AE35-E515-E313-BE8F11D727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2972" y="1245822"/>
            <a:ext cx="4513855" cy="884237"/>
          </a:xfrm>
        </p:spPr>
        <p:txBody>
          <a:bodyPr>
            <a:noAutofit/>
          </a:bodyPr>
          <a:lstStyle/>
          <a:p>
            <a:r>
              <a:rPr lang="cs-CZ" dirty="0">
                <a:solidFill>
                  <a:schemeClr val="tx2"/>
                </a:solidFill>
              </a:rPr>
              <a:t>Pyramida </a:t>
            </a:r>
            <a:r>
              <a:rPr lang="cs-CZ" dirty="0">
                <a:solidFill>
                  <a:srgbClr val="FF0000"/>
                </a:solidFill>
              </a:rPr>
              <a:t>organizačních opatření</a:t>
            </a:r>
            <a:endParaRPr lang="cs-CZ" dirty="0">
              <a:solidFill>
                <a:schemeClr val="tx2"/>
              </a:solidFill>
            </a:endParaRPr>
          </a:p>
        </p:txBody>
      </p:sp>
      <mc:AlternateContent xmlns:mc="http://schemas.openxmlformats.org/markup-compatibility/2006" xmlns:p14="http://schemas.microsoft.com/office/powerpoint/2010/main">
        <mc:Choice Requires="p14">
          <p:contentPart p14:bwMode="auto" r:id="rId2">
            <p14:nvContentPartPr>
              <p14:cNvPr id="6" name="Rukopis 5">
                <a:extLst>
                  <a:ext uri="{FF2B5EF4-FFF2-40B4-BE49-F238E27FC236}">
                    <a16:creationId xmlns:a16="http://schemas.microsoft.com/office/drawing/2014/main" id="{C7E14DCE-CB22-A60B-F4D7-53E0F9DBD544}"/>
                  </a:ext>
                </a:extLst>
              </p14:cNvPr>
              <p14:cNvContentPartPr/>
              <p14:nvPr/>
            </p14:nvContentPartPr>
            <p14:xfrm>
              <a:off x="3431741" y="3582803"/>
              <a:ext cx="360" cy="360"/>
            </p14:xfrm>
          </p:contentPart>
        </mc:Choice>
        <mc:Fallback xmlns="">
          <p:pic>
            <p:nvPicPr>
              <p:cNvPr id="6" name="Rukopis 5">
                <a:extLst>
                  <a:ext uri="{FF2B5EF4-FFF2-40B4-BE49-F238E27FC236}">
                    <a16:creationId xmlns:a16="http://schemas.microsoft.com/office/drawing/2014/main" id="{C7E14DCE-CB22-A60B-F4D7-53E0F9DBD544}"/>
                  </a:ext>
                </a:extLst>
              </p:cNvPr>
              <p:cNvPicPr/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3422741" y="3573803"/>
                <a:ext cx="18000" cy="18000"/>
              </a:xfrm>
              <a:prstGeom prst="rect">
                <a:avLst/>
              </a:prstGeom>
            </p:spPr>
          </p:pic>
        </mc:Fallback>
      </mc:AlternateContent>
      <p:graphicFrame>
        <p:nvGraphicFramePr>
          <p:cNvPr id="7" name="Diagram 6">
            <a:extLst>
              <a:ext uri="{FF2B5EF4-FFF2-40B4-BE49-F238E27FC236}">
                <a16:creationId xmlns:a16="http://schemas.microsoft.com/office/drawing/2014/main" id="{4BED5F91-3318-279C-7E56-7560CA93F0E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273084950"/>
              </p:ext>
            </p:extLst>
          </p:nvPr>
        </p:nvGraphicFramePr>
        <p:xfrm>
          <a:off x="1358942" y="423644"/>
          <a:ext cx="9026630" cy="509211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pic>
        <p:nvPicPr>
          <p:cNvPr id="2050" name="Picture 2" descr="Cibule červená 1 ks, volná">
            <a:extLst>
              <a:ext uri="{FF2B5EF4-FFF2-40B4-BE49-F238E27FC236}">
                <a16:creationId xmlns:a16="http://schemas.microsoft.com/office/drawing/2014/main" id="{66C1C537-8150-C8D6-3999-EC754B62911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02856" y="532700"/>
            <a:ext cx="2941784" cy="18673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Nadpis 5">
            <a:extLst>
              <a:ext uri="{FF2B5EF4-FFF2-40B4-BE49-F238E27FC236}">
                <a16:creationId xmlns:a16="http://schemas.microsoft.com/office/drawing/2014/main" id="{35CDA1E2-BF0A-AFAA-E439-24DB49621EF3}"/>
              </a:ext>
            </a:extLst>
          </p:cNvPr>
          <p:cNvSpPr txBox="1">
            <a:spLocks/>
          </p:cNvSpPr>
          <p:nvPr/>
        </p:nvSpPr>
        <p:spPr>
          <a:xfrm rot="10800000" flipV="1">
            <a:off x="8764773" y="2788810"/>
            <a:ext cx="3227296" cy="11761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37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kern="1200">
                <a:solidFill>
                  <a:schemeClr val="tx1"/>
                </a:solidFill>
                <a:latin typeface="Tw Cen MT" panose="020B0602020104020603" pitchFamily="34" charset="0"/>
                <a:ea typeface="Ebrima" panose="02000000000000000000" pitchFamily="2" charset="0"/>
                <a:cs typeface="Ebrima" panose="02000000000000000000" pitchFamily="2" charset="0"/>
              </a:defRPr>
            </a:lvl1pPr>
          </a:lstStyle>
          <a:p>
            <a:r>
              <a:rPr lang="cs-CZ" sz="2400" dirty="0">
                <a:solidFill>
                  <a:schemeClr val="tx2"/>
                </a:solidFill>
                <a:latin typeface="+mn-lt"/>
              </a:rPr>
              <a:t>Jděte po vrstvách </a:t>
            </a:r>
            <a:br>
              <a:rPr lang="pl-PL" sz="2400" dirty="0">
                <a:solidFill>
                  <a:schemeClr val="tx2"/>
                </a:solidFill>
              </a:rPr>
            </a:br>
            <a:endParaRPr lang="sk-SK" sz="2400" i="1" dirty="0">
              <a:solidFill>
                <a:schemeClr val="accent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03165346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>
        <p15:prstTrans prst="pageCurlDouble"/>
      </p:transition>
    </mc:Choice>
    <mc:Fallback xmlns="">
      <p:transition spd="slow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Nadpis 2">
            <a:extLst>
              <a:ext uri="{FF2B5EF4-FFF2-40B4-BE49-F238E27FC236}">
                <a16:creationId xmlns:a16="http://schemas.microsoft.com/office/drawing/2014/main" id="{8A6FECDC-AE35-E515-E313-BE8F11D727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785" y="1359456"/>
            <a:ext cx="4242563" cy="884237"/>
          </a:xfrm>
        </p:spPr>
        <p:txBody>
          <a:bodyPr>
            <a:noAutofit/>
          </a:bodyPr>
          <a:lstStyle/>
          <a:p>
            <a:r>
              <a:rPr lang="cs-CZ" dirty="0">
                <a:solidFill>
                  <a:schemeClr val="tx2"/>
                </a:solidFill>
              </a:rPr>
              <a:t>Pyramida </a:t>
            </a:r>
            <a:r>
              <a:rPr lang="cs-CZ" dirty="0">
                <a:solidFill>
                  <a:srgbClr val="FF0000"/>
                </a:solidFill>
              </a:rPr>
              <a:t>technických opatření</a:t>
            </a:r>
            <a:endParaRPr lang="cs-CZ" dirty="0">
              <a:solidFill>
                <a:schemeClr val="tx2"/>
              </a:solidFill>
            </a:endParaRPr>
          </a:p>
        </p:txBody>
      </p:sp>
      <mc:AlternateContent xmlns:mc="http://schemas.openxmlformats.org/markup-compatibility/2006" xmlns:p14="http://schemas.microsoft.com/office/powerpoint/2010/main">
        <mc:Choice Requires="p14">
          <p:contentPart p14:bwMode="auto" r:id="rId2">
            <p14:nvContentPartPr>
              <p14:cNvPr id="6" name="Rukopis 5">
                <a:extLst>
                  <a:ext uri="{FF2B5EF4-FFF2-40B4-BE49-F238E27FC236}">
                    <a16:creationId xmlns:a16="http://schemas.microsoft.com/office/drawing/2014/main" id="{C7E14DCE-CB22-A60B-F4D7-53E0F9DBD544}"/>
                  </a:ext>
                </a:extLst>
              </p14:cNvPr>
              <p14:cNvContentPartPr/>
              <p14:nvPr/>
            </p14:nvContentPartPr>
            <p14:xfrm>
              <a:off x="3431741" y="3582803"/>
              <a:ext cx="360" cy="360"/>
            </p14:xfrm>
          </p:contentPart>
        </mc:Choice>
        <mc:Fallback xmlns="">
          <p:pic>
            <p:nvPicPr>
              <p:cNvPr id="6" name="Rukopis 5">
                <a:extLst>
                  <a:ext uri="{FF2B5EF4-FFF2-40B4-BE49-F238E27FC236}">
                    <a16:creationId xmlns:a16="http://schemas.microsoft.com/office/drawing/2014/main" id="{C7E14DCE-CB22-A60B-F4D7-53E0F9DBD544}"/>
                  </a:ext>
                </a:extLst>
              </p:cNvPr>
              <p:cNvPicPr/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3422741" y="3573803"/>
                <a:ext cx="18000" cy="18000"/>
              </a:xfrm>
              <a:prstGeom prst="rect">
                <a:avLst/>
              </a:prstGeom>
            </p:spPr>
          </p:pic>
        </mc:Fallback>
      </mc:AlternateContent>
      <p:graphicFrame>
        <p:nvGraphicFramePr>
          <p:cNvPr id="7" name="Diagram 6">
            <a:extLst>
              <a:ext uri="{FF2B5EF4-FFF2-40B4-BE49-F238E27FC236}">
                <a16:creationId xmlns:a16="http://schemas.microsoft.com/office/drawing/2014/main" id="{4BED5F91-3318-279C-7E56-7560CA93F0E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27858073"/>
              </p:ext>
            </p:extLst>
          </p:nvPr>
        </p:nvGraphicFramePr>
        <p:xfrm>
          <a:off x="449080" y="411061"/>
          <a:ext cx="10741834" cy="499983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pic>
        <p:nvPicPr>
          <p:cNvPr id="1026" name="Picture 2" descr="TURISTICKÝ SALÁM MALÝ">
            <a:extLst>
              <a:ext uri="{FF2B5EF4-FFF2-40B4-BE49-F238E27FC236}">
                <a16:creationId xmlns:a16="http://schemas.microsoft.com/office/drawing/2014/main" id="{3C2CB385-0907-8257-CA61-4A6093CA3CE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40338" y="675313"/>
            <a:ext cx="2950828" cy="19672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Nadpis 5">
            <a:extLst>
              <a:ext uri="{FF2B5EF4-FFF2-40B4-BE49-F238E27FC236}">
                <a16:creationId xmlns:a16="http://schemas.microsoft.com/office/drawing/2014/main" id="{A3EA520D-EDA6-8117-9342-6B9FFEEDD721}"/>
              </a:ext>
            </a:extLst>
          </p:cNvPr>
          <p:cNvSpPr txBox="1">
            <a:spLocks/>
          </p:cNvSpPr>
          <p:nvPr/>
        </p:nvSpPr>
        <p:spPr>
          <a:xfrm rot="10800000" flipV="1">
            <a:off x="8697664" y="2977558"/>
            <a:ext cx="3621572" cy="10959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37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kern="1200">
                <a:solidFill>
                  <a:schemeClr val="tx1"/>
                </a:solidFill>
                <a:latin typeface="Tw Cen MT" panose="020B0602020104020603" pitchFamily="34" charset="0"/>
                <a:ea typeface="Ebrima" panose="02000000000000000000" pitchFamily="2" charset="0"/>
                <a:cs typeface="Ebrima" panose="02000000000000000000" pitchFamily="2" charset="0"/>
              </a:defRPr>
            </a:lvl1pPr>
          </a:lstStyle>
          <a:p>
            <a:r>
              <a:rPr lang="cs-CZ" sz="2400" dirty="0">
                <a:solidFill>
                  <a:schemeClr val="tx2"/>
                </a:solidFill>
                <a:latin typeface="+mn-lt"/>
              </a:rPr>
              <a:t>Krájejte to jako salám</a:t>
            </a:r>
            <a:br>
              <a:rPr lang="pl-PL" sz="2400" dirty="0">
                <a:solidFill>
                  <a:schemeClr val="tx2"/>
                </a:solidFill>
              </a:rPr>
            </a:br>
            <a:endParaRPr lang="sk-SK" sz="2400" i="1" dirty="0">
              <a:solidFill>
                <a:schemeClr val="accent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87834625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>
        <p15:prstTrans prst="pageCurlDouble"/>
      </p:transition>
    </mc:Choice>
    <mc:Fallback xmlns="">
      <p:transition spd="slow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adpis 2">
            <a:extLst>
              <a:ext uri="{FF2B5EF4-FFF2-40B4-BE49-F238E27FC236}">
                <a16:creationId xmlns:a16="http://schemas.microsoft.com/office/drawing/2014/main" id="{532CB35F-10DF-439B-AB11-E730DE6B1F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04" y="989592"/>
            <a:ext cx="2635743" cy="883812"/>
          </a:xfrm>
        </p:spPr>
        <p:txBody>
          <a:bodyPr>
            <a:normAutofit fontScale="90000"/>
          </a:bodyPr>
          <a:lstStyle/>
          <a:p>
            <a:r>
              <a:rPr lang="cs-CZ" dirty="0"/>
              <a:t>Děkujeme</a:t>
            </a:r>
          </a:p>
        </p:txBody>
      </p:sp>
      <p:grpSp>
        <p:nvGrpSpPr>
          <p:cNvPr id="6" name="Group 10">
            <a:extLst>
              <a:ext uri="{FF2B5EF4-FFF2-40B4-BE49-F238E27FC236}">
                <a16:creationId xmlns:a16="http://schemas.microsoft.com/office/drawing/2014/main" id="{BD477CA4-BD91-446B-903D-6BBBC86466D1}"/>
              </a:ext>
            </a:extLst>
          </p:cNvPr>
          <p:cNvGrpSpPr/>
          <p:nvPr/>
        </p:nvGrpSpPr>
        <p:grpSpPr>
          <a:xfrm>
            <a:off x="755193" y="613456"/>
            <a:ext cx="10730933" cy="5263148"/>
            <a:chOff x="-637776" y="184480"/>
            <a:chExt cx="9666903" cy="4741279"/>
          </a:xfrm>
        </p:grpSpPr>
        <p:sp>
          <p:nvSpPr>
            <p:cNvPr id="7" name="Cube 378">
              <a:extLst>
                <a:ext uri="{FF2B5EF4-FFF2-40B4-BE49-F238E27FC236}">
                  <a16:creationId xmlns:a16="http://schemas.microsoft.com/office/drawing/2014/main" id="{59A22964-5226-4898-9C4E-5D8339B872B5}"/>
                </a:ext>
              </a:extLst>
            </p:cNvPr>
            <p:cNvSpPr/>
            <p:nvPr>
              <p:custDataLst>
                <p:tags r:id="rId5"/>
              </p:custDataLst>
            </p:nvPr>
          </p:nvSpPr>
          <p:spPr>
            <a:xfrm>
              <a:off x="5923093" y="4312705"/>
              <a:ext cx="373356" cy="357087"/>
            </a:xfrm>
            <a:prstGeom prst="cube">
              <a:avLst>
                <a:gd name="adj" fmla="val 30898"/>
              </a:avLst>
            </a:prstGeom>
            <a:solidFill>
              <a:schemeClr val="accent1">
                <a:lumMod val="20000"/>
                <a:lumOff val="80000"/>
              </a:schemeClr>
            </a:solidFill>
            <a:ln w="28575"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101456" tIns="50729" rIns="101456" bIns="50729" rtlCol="0" anchor="ctr"/>
            <a:lstStyle/>
            <a:p>
              <a:pPr algn="ctr" defTabSz="504442"/>
              <a:endParaRPr lang="en-US" sz="1332">
                <a:solidFill>
                  <a:prstClr val="black"/>
                </a:solidFill>
                <a:latin typeface="Ebrima" panose="02000000000000000000" pitchFamily="2" charset="0"/>
                <a:ea typeface="Ebrima" panose="02000000000000000000" pitchFamily="2" charset="0"/>
                <a:cs typeface="Ebrima" panose="02000000000000000000" pitchFamily="2" charset="0"/>
              </a:endParaRPr>
            </a:p>
          </p:txBody>
        </p:sp>
        <p:sp>
          <p:nvSpPr>
            <p:cNvPr id="8" name="Freeform 379">
              <a:extLst>
                <a:ext uri="{FF2B5EF4-FFF2-40B4-BE49-F238E27FC236}">
                  <a16:creationId xmlns:a16="http://schemas.microsoft.com/office/drawing/2014/main" id="{6A56F55C-7F0B-44C5-B562-6CB2965178EC}"/>
                </a:ext>
              </a:extLst>
            </p:cNvPr>
            <p:cNvSpPr/>
            <p:nvPr>
              <p:custDataLst>
                <p:tags r:id="rId6"/>
              </p:custDataLst>
            </p:nvPr>
          </p:nvSpPr>
          <p:spPr>
            <a:xfrm>
              <a:off x="5769538" y="1637814"/>
              <a:ext cx="1053821" cy="794767"/>
            </a:xfrm>
            <a:custGeom>
              <a:avLst/>
              <a:gdLst>
                <a:gd name="connsiteX0" fmla="*/ 551887 w 551887"/>
                <a:gd name="connsiteY0" fmla="*/ 473432 h 473432"/>
                <a:gd name="connsiteX1" fmla="*/ 0 w 551887"/>
                <a:gd name="connsiteY1" fmla="*/ 473432 h 473432"/>
                <a:gd name="connsiteX2" fmla="*/ 51402 w 551887"/>
                <a:gd name="connsiteY2" fmla="*/ 0 h 473432"/>
                <a:gd name="connsiteX3" fmla="*/ 524833 w 551887"/>
                <a:gd name="connsiteY3" fmla="*/ 0 h 473432"/>
                <a:gd name="connsiteX4" fmla="*/ 551887 w 551887"/>
                <a:gd name="connsiteY4" fmla="*/ 473432 h 473432"/>
                <a:gd name="connsiteX0" fmla="*/ 721634 w 721634"/>
                <a:gd name="connsiteY0" fmla="*/ 473432 h 473432"/>
                <a:gd name="connsiteX1" fmla="*/ 169747 w 721634"/>
                <a:gd name="connsiteY1" fmla="*/ 473432 h 473432"/>
                <a:gd name="connsiteX2" fmla="*/ 221149 w 721634"/>
                <a:gd name="connsiteY2" fmla="*/ 0 h 473432"/>
                <a:gd name="connsiteX3" fmla="*/ 694580 w 721634"/>
                <a:gd name="connsiteY3" fmla="*/ 0 h 473432"/>
                <a:gd name="connsiteX4" fmla="*/ 721634 w 721634"/>
                <a:gd name="connsiteY4" fmla="*/ 473432 h 473432"/>
                <a:gd name="connsiteX0" fmla="*/ 761161 w 761161"/>
                <a:gd name="connsiteY0" fmla="*/ 474811 h 474811"/>
                <a:gd name="connsiteX1" fmla="*/ 209274 w 761161"/>
                <a:gd name="connsiteY1" fmla="*/ 474811 h 474811"/>
                <a:gd name="connsiteX2" fmla="*/ 260676 w 761161"/>
                <a:gd name="connsiteY2" fmla="*/ 1379 h 474811"/>
                <a:gd name="connsiteX3" fmla="*/ 734107 w 761161"/>
                <a:gd name="connsiteY3" fmla="*/ 1379 h 474811"/>
                <a:gd name="connsiteX4" fmla="*/ 761161 w 761161"/>
                <a:gd name="connsiteY4" fmla="*/ 474811 h 474811"/>
                <a:gd name="connsiteX0" fmla="*/ 680396 w 680396"/>
                <a:gd name="connsiteY0" fmla="*/ 474639 h 474639"/>
                <a:gd name="connsiteX1" fmla="*/ 128509 w 680396"/>
                <a:gd name="connsiteY1" fmla="*/ 474639 h 474639"/>
                <a:gd name="connsiteX2" fmla="*/ 179911 w 680396"/>
                <a:gd name="connsiteY2" fmla="*/ 1207 h 474639"/>
                <a:gd name="connsiteX3" fmla="*/ 653342 w 680396"/>
                <a:gd name="connsiteY3" fmla="*/ 1207 h 474639"/>
                <a:gd name="connsiteX4" fmla="*/ 680396 w 680396"/>
                <a:gd name="connsiteY4" fmla="*/ 474639 h 474639"/>
                <a:gd name="connsiteX0" fmla="*/ 737528 w 737528"/>
                <a:gd name="connsiteY0" fmla="*/ 474883 h 474883"/>
                <a:gd name="connsiteX1" fmla="*/ 185641 w 737528"/>
                <a:gd name="connsiteY1" fmla="*/ 474883 h 474883"/>
                <a:gd name="connsiteX2" fmla="*/ 237043 w 737528"/>
                <a:gd name="connsiteY2" fmla="*/ 1451 h 474883"/>
                <a:gd name="connsiteX3" fmla="*/ 710474 w 737528"/>
                <a:gd name="connsiteY3" fmla="*/ 1451 h 474883"/>
                <a:gd name="connsiteX4" fmla="*/ 737528 w 737528"/>
                <a:gd name="connsiteY4" fmla="*/ 474883 h 474883"/>
                <a:gd name="connsiteX0" fmla="*/ 737528 w 737528"/>
                <a:gd name="connsiteY0" fmla="*/ 580442 h 580442"/>
                <a:gd name="connsiteX1" fmla="*/ 185641 w 737528"/>
                <a:gd name="connsiteY1" fmla="*/ 580442 h 580442"/>
                <a:gd name="connsiteX2" fmla="*/ 237043 w 737528"/>
                <a:gd name="connsiteY2" fmla="*/ 107010 h 580442"/>
                <a:gd name="connsiteX3" fmla="*/ 710474 w 737528"/>
                <a:gd name="connsiteY3" fmla="*/ 107010 h 580442"/>
                <a:gd name="connsiteX4" fmla="*/ 737528 w 737528"/>
                <a:gd name="connsiteY4" fmla="*/ 580442 h 580442"/>
                <a:gd name="connsiteX0" fmla="*/ 737528 w 737528"/>
                <a:gd name="connsiteY0" fmla="*/ 698619 h 698619"/>
                <a:gd name="connsiteX1" fmla="*/ 185641 w 737528"/>
                <a:gd name="connsiteY1" fmla="*/ 698619 h 698619"/>
                <a:gd name="connsiteX2" fmla="*/ 237043 w 737528"/>
                <a:gd name="connsiteY2" fmla="*/ 225187 h 698619"/>
                <a:gd name="connsiteX3" fmla="*/ 710474 w 737528"/>
                <a:gd name="connsiteY3" fmla="*/ 225187 h 698619"/>
                <a:gd name="connsiteX4" fmla="*/ 737528 w 737528"/>
                <a:gd name="connsiteY4" fmla="*/ 698619 h 698619"/>
                <a:gd name="connsiteX0" fmla="*/ 737528 w 737528"/>
                <a:gd name="connsiteY0" fmla="*/ 713575 h 713575"/>
                <a:gd name="connsiteX1" fmla="*/ 185641 w 737528"/>
                <a:gd name="connsiteY1" fmla="*/ 713575 h 713575"/>
                <a:gd name="connsiteX2" fmla="*/ 237043 w 737528"/>
                <a:gd name="connsiteY2" fmla="*/ 240143 h 713575"/>
                <a:gd name="connsiteX3" fmla="*/ 710474 w 737528"/>
                <a:gd name="connsiteY3" fmla="*/ 240143 h 713575"/>
                <a:gd name="connsiteX4" fmla="*/ 737528 w 737528"/>
                <a:gd name="connsiteY4" fmla="*/ 713575 h 713575"/>
                <a:gd name="connsiteX0" fmla="*/ 737528 w 889793"/>
                <a:gd name="connsiteY0" fmla="*/ 713575 h 713575"/>
                <a:gd name="connsiteX1" fmla="*/ 185641 w 889793"/>
                <a:gd name="connsiteY1" fmla="*/ 713575 h 713575"/>
                <a:gd name="connsiteX2" fmla="*/ 237043 w 889793"/>
                <a:gd name="connsiteY2" fmla="*/ 240143 h 713575"/>
                <a:gd name="connsiteX3" fmla="*/ 710474 w 889793"/>
                <a:gd name="connsiteY3" fmla="*/ 240143 h 713575"/>
                <a:gd name="connsiteX4" fmla="*/ 737528 w 889793"/>
                <a:gd name="connsiteY4" fmla="*/ 713575 h 713575"/>
                <a:gd name="connsiteX0" fmla="*/ 737528 w 954007"/>
                <a:gd name="connsiteY0" fmla="*/ 713575 h 713575"/>
                <a:gd name="connsiteX1" fmla="*/ 185641 w 954007"/>
                <a:gd name="connsiteY1" fmla="*/ 713575 h 713575"/>
                <a:gd name="connsiteX2" fmla="*/ 237043 w 954007"/>
                <a:gd name="connsiteY2" fmla="*/ 240143 h 713575"/>
                <a:gd name="connsiteX3" fmla="*/ 710474 w 954007"/>
                <a:gd name="connsiteY3" fmla="*/ 240143 h 713575"/>
                <a:gd name="connsiteX4" fmla="*/ 737528 w 954007"/>
                <a:gd name="connsiteY4" fmla="*/ 713575 h 713575"/>
                <a:gd name="connsiteX0" fmla="*/ 737528 w 946164"/>
                <a:gd name="connsiteY0" fmla="*/ 713575 h 713575"/>
                <a:gd name="connsiteX1" fmla="*/ 185641 w 946164"/>
                <a:gd name="connsiteY1" fmla="*/ 713575 h 713575"/>
                <a:gd name="connsiteX2" fmla="*/ 237043 w 946164"/>
                <a:gd name="connsiteY2" fmla="*/ 240143 h 713575"/>
                <a:gd name="connsiteX3" fmla="*/ 710474 w 946164"/>
                <a:gd name="connsiteY3" fmla="*/ 240143 h 713575"/>
                <a:gd name="connsiteX4" fmla="*/ 737528 w 946164"/>
                <a:gd name="connsiteY4" fmla="*/ 713575 h 713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46164" h="713575">
                  <a:moveTo>
                    <a:pt x="737528" y="713575"/>
                  </a:moveTo>
                  <a:lnTo>
                    <a:pt x="185641" y="713575"/>
                  </a:lnTo>
                  <a:cubicBezTo>
                    <a:pt x="-162443" y="547647"/>
                    <a:pt x="52179" y="213992"/>
                    <a:pt x="237043" y="240143"/>
                  </a:cubicBezTo>
                  <a:cubicBezTo>
                    <a:pt x="267703" y="-114254"/>
                    <a:pt x="728511" y="-43916"/>
                    <a:pt x="710474" y="240143"/>
                  </a:cubicBezTo>
                  <a:cubicBezTo>
                    <a:pt x="960266" y="224813"/>
                    <a:pt x="1072086" y="634218"/>
                    <a:pt x="737528" y="713575"/>
                  </a:cubicBezTo>
                  <a:close/>
                </a:path>
              </a:pathLst>
            </a:custGeom>
            <a:solidFill>
              <a:schemeClr val="tx1"/>
            </a:solidFill>
            <a:ln w="38100" cap="flat" cmpd="sng" algn="ctr">
              <a:solidFill>
                <a:schemeClr val="tx2"/>
              </a:solidFill>
              <a:prstDash val="solid"/>
            </a:ln>
            <a:effectLst/>
          </p:spPr>
          <p:txBody>
            <a:bodyPr lIns="101456" tIns="50729" rIns="101456" bIns="50729" rtlCol="0" anchor="ctr"/>
            <a:lstStyle/>
            <a:p>
              <a:pPr algn="ctr" defTabSz="1014582">
                <a:defRPr/>
              </a:pPr>
              <a:endParaRPr lang="en-US" sz="2220" kern="0">
                <a:solidFill>
                  <a:sysClr val="window" lastClr="FFFFFF"/>
                </a:solidFill>
                <a:latin typeface="Ebrima" panose="02000000000000000000" pitchFamily="2" charset="0"/>
                <a:ea typeface="Ebrima" panose="02000000000000000000" pitchFamily="2" charset="0"/>
                <a:cs typeface="Ebrima" panose="02000000000000000000" pitchFamily="2" charset="0"/>
                <a:sym typeface="HP Simplified"/>
              </a:endParaRPr>
            </a:p>
          </p:txBody>
        </p:sp>
        <p:sp>
          <p:nvSpPr>
            <p:cNvPr id="9" name="Freeform 380">
              <a:extLst>
                <a:ext uri="{FF2B5EF4-FFF2-40B4-BE49-F238E27FC236}">
                  <a16:creationId xmlns:a16="http://schemas.microsoft.com/office/drawing/2014/main" id="{AFC95B50-3BAF-4414-A8F8-6C2344881AF4}"/>
                </a:ext>
              </a:extLst>
            </p:cNvPr>
            <p:cNvSpPr/>
            <p:nvPr>
              <p:custDataLst>
                <p:tags r:id="rId7"/>
              </p:custDataLst>
            </p:nvPr>
          </p:nvSpPr>
          <p:spPr>
            <a:xfrm>
              <a:off x="1524489" y="493017"/>
              <a:ext cx="608870" cy="459195"/>
            </a:xfrm>
            <a:custGeom>
              <a:avLst/>
              <a:gdLst>
                <a:gd name="connsiteX0" fmla="*/ 551887 w 551887"/>
                <a:gd name="connsiteY0" fmla="*/ 473432 h 473432"/>
                <a:gd name="connsiteX1" fmla="*/ 0 w 551887"/>
                <a:gd name="connsiteY1" fmla="*/ 473432 h 473432"/>
                <a:gd name="connsiteX2" fmla="*/ 51402 w 551887"/>
                <a:gd name="connsiteY2" fmla="*/ 0 h 473432"/>
                <a:gd name="connsiteX3" fmla="*/ 524833 w 551887"/>
                <a:gd name="connsiteY3" fmla="*/ 0 h 473432"/>
                <a:gd name="connsiteX4" fmla="*/ 551887 w 551887"/>
                <a:gd name="connsiteY4" fmla="*/ 473432 h 473432"/>
                <a:gd name="connsiteX0" fmla="*/ 721634 w 721634"/>
                <a:gd name="connsiteY0" fmla="*/ 473432 h 473432"/>
                <a:gd name="connsiteX1" fmla="*/ 169747 w 721634"/>
                <a:gd name="connsiteY1" fmla="*/ 473432 h 473432"/>
                <a:gd name="connsiteX2" fmla="*/ 221149 w 721634"/>
                <a:gd name="connsiteY2" fmla="*/ 0 h 473432"/>
                <a:gd name="connsiteX3" fmla="*/ 694580 w 721634"/>
                <a:gd name="connsiteY3" fmla="*/ 0 h 473432"/>
                <a:gd name="connsiteX4" fmla="*/ 721634 w 721634"/>
                <a:gd name="connsiteY4" fmla="*/ 473432 h 473432"/>
                <a:gd name="connsiteX0" fmla="*/ 761161 w 761161"/>
                <a:gd name="connsiteY0" fmla="*/ 474811 h 474811"/>
                <a:gd name="connsiteX1" fmla="*/ 209274 w 761161"/>
                <a:gd name="connsiteY1" fmla="*/ 474811 h 474811"/>
                <a:gd name="connsiteX2" fmla="*/ 260676 w 761161"/>
                <a:gd name="connsiteY2" fmla="*/ 1379 h 474811"/>
                <a:gd name="connsiteX3" fmla="*/ 734107 w 761161"/>
                <a:gd name="connsiteY3" fmla="*/ 1379 h 474811"/>
                <a:gd name="connsiteX4" fmla="*/ 761161 w 761161"/>
                <a:gd name="connsiteY4" fmla="*/ 474811 h 474811"/>
                <a:gd name="connsiteX0" fmla="*/ 680396 w 680396"/>
                <a:gd name="connsiteY0" fmla="*/ 474639 h 474639"/>
                <a:gd name="connsiteX1" fmla="*/ 128509 w 680396"/>
                <a:gd name="connsiteY1" fmla="*/ 474639 h 474639"/>
                <a:gd name="connsiteX2" fmla="*/ 179911 w 680396"/>
                <a:gd name="connsiteY2" fmla="*/ 1207 h 474639"/>
                <a:gd name="connsiteX3" fmla="*/ 653342 w 680396"/>
                <a:gd name="connsiteY3" fmla="*/ 1207 h 474639"/>
                <a:gd name="connsiteX4" fmla="*/ 680396 w 680396"/>
                <a:gd name="connsiteY4" fmla="*/ 474639 h 474639"/>
                <a:gd name="connsiteX0" fmla="*/ 737528 w 737528"/>
                <a:gd name="connsiteY0" fmla="*/ 474883 h 474883"/>
                <a:gd name="connsiteX1" fmla="*/ 185641 w 737528"/>
                <a:gd name="connsiteY1" fmla="*/ 474883 h 474883"/>
                <a:gd name="connsiteX2" fmla="*/ 237043 w 737528"/>
                <a:gd name="connsiteY2" fmla="*/ 1451 h 474883"/>
                <a:gd name="connsiteX3" fmla="*/ 710474 w 737528"/>
                <a:gd name="connsiteY3" fmla="*/ 1451 h 474883"/>
                <a:gd name="connsiteX4" fmla="*/ 737528 w 737528"/>
                <a:gd name="connsiteY4" fmla="*/ 474883 h 474883"/>
                <a:gd name="connsiteX0" fmla="*/ 737528 w 737528"/>
                <a:gd name="connsiteY0" fmla="*/ 580442 h 580442"/>
                <a:gd name="connsiteX1" fmla="*/ 185641 w 737528"/>
                <a:gd name="connsiteY1" fmla="*/ 580442 h 580442"/>
                <a:gd name="connsiteX2" fmla="*/ 237043 w 737528"/>
                <a:gd name="connsiteY2" fmla="*/ 107010 h 580442"/>
                <a:gd name="connsiteX3" fmla="*/ 710474 w 737528"/>
                <a:gd name="connsiteY3" fmla="*/ 107010 h 580442"/>
                <a:gd name="connsiteX4" fmla="*/ 737528 w 737528"/>
                <a:gd name="connsiteY4" fmla="*/ 580442 h 580442"/>
                <a:gd name="connsiteX0" fmla="*/ 737528 w 737528"/>
                <a:gd name="connsiteY0" fmla="*/ 698619 h 698619"/>
                <a:gd name="connsiteX1" fmla="*/ 185641 w 737528"/>
                <a:gd name="connsiteY1" fmla="*/ 698619 h 698619"/>
                <a:gd name="connsiteX2" fmla="*/ 237043 w 737528"/>
                <a:gd name="connsiteY2" fmla="*/ 225187 h 698619"/>
                <a:gd name="connsiteX3" fmla="*/ 710474 w 737528"/>
                <a:gd name="connsiteY3" fmla="*/ 225187 h 698619"/>
                <a:gd name="connsiteX4" fmla="*/ 737528 w 737528"/>
                <a:gd name="connsiteY4" fmla="*/ 698619 h 698619"/>
                <a:gd name="connsiteX0" fmla="*/ 737528 w 737528"/>
                <a:gd name="connsiteY0" fmla="*/ 713575 h 713575"/>
                <a:gd name="connsiteX1" fmla="*/ 185641 w 737528"/>
                <a:gd name="connsiteY1" fmla="*/ 713575 h 713575"/>
                <a:gd name="connsiteX2" fmla="*/ 237043 w 737528"/>
                <a:gd name="connsiteY2" fmla="*/ 240143 h 713575"/>
                <a:gd name="connsiteX3" fmla="*/ 710474 w 737528"/>
                <a:gd name="connsiteY3" fmla="*/ 240143 h 713575"/>
                <a:gd name="connsiteX4" fmla="*/ 737528 w 737528"/>
                <a:gd name="connsiteY4" fmla="*/ 713575 h 713575"/>
                <a:gd name="connsiteX0" fmla="*/ 737528 w 889793"/>
                <a:gd name="connsiteY0" fmla="*/ 713575 h 713575"/>
                <a:gd name="connsiteX1" fmla="*/ 185641 w 889793"/>
                <a:gd name="connsiteY1" fmla="*/ 713575 h 713575"/>
                <a:gd name="connsiteX2" fmla="*/ 237043 w 889793"/>
                <a:gd name="connsiteY2" fmla="*/ 240143 h 713575"/>
                <a:gd name="connsiteX3" fmla="*/ 710474 w 889793"/>
                <a:gd name="connsiteY3" fmla="*/ 240143 h 713575"/>
                <a:gd name="connsiteX4" fmla="*/ 737528 w 889793"/>
                <a:gd name="connsiteY4" fmla="*/ 713575 h 713575"/>
                <a:gd name="connsiteX0" fmla="*/ 737528 w 954007"/>
                <a:gd name="connsiteY0" fmla="*/ 713575 h 713575"/>
                <a:gd name="connsiteX1" fmla="*/ 185641 w 954007"/>
                <a:gd name="connsiteY1" fmla="*/ 713575 h 713575"/>
                <a:gd name="connsiteX2" fmla="*/ 237043 w 954007"/>
                <a:gd name="connsiteY2" fmla="*/ 240143 h 713575"/>
                <a:gd name="connsiteX3" fmla="*/ 710474 w 954007"/>
                <a:gd name="connsiteY3" fmla="*/ 240143 h 713575"/>
                <a:gd name="connsiteX4" fmla="*/ 737528 w 954007"/>
                <a:gd name="connsiteY4" fmla="*/ 713575 h 713575"/>
                <a:gd name="connsiteX0" fmla="*/ 737528 w 946164"/>
                <a:gd name="connsiteY0" fmla="*/ 713575 h 713575"/>
                <a:gd name="connsiteX1" fmla="*/ 185641 w 946164"/>
                <a:gd name="connsiteY1" fmla="*/ 713575 h 713575"/>
                <a:gd name="connsiteX2" fmla="*/ 237043 w 946164"/>
                <a:gd name="connsiteY2" fmla="*/ 240143 h 713575"/>
                <a:gd name="connsiteX3" fmla="*/ 710474 w 946164"/>
                <a:gd name="connsiteY3" fmla="*/ 240143 h 713575"/>
                <a:gd name="connsiteX4" fmla="*/ 737528 w 946164"/>
                <a:gd name="connsiteY4" fmla="*/ 713575 h 713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46164" h="713575">
                  <a:moveTo>
                    <a:pt x="737528" y="713575"/>
                  </a:moveTo>
                  <a:lnTo>
                    <a:pt x="185641" y="713575"/>
                  </a:lnTo>
                  <a:cubicBezTo>
                    <a:pt x="-162443" y="547647"/>
                    <a:pt x="52179" y="213992"/>
                    <a:pt x="237043" y="240143"/>
                  </a:cubicBezTo>
                  <a:cubicBezTo>
                    <a:pt x="267703" y="-114254"/>
                    <a:pt x="728511" y="-43916"/>
                    <a:pt x="710474" y="240143"/>
                  </a:cubicBezTo>
                  <a:cubicBezTo>
                    <a:pt x="960266" y="224813"/>
                    <a:pt x="1072086" y="634218"/>
                    <a:pt x="737528" y="713575"/>
                  </a:cubicBezTo>
                  <a:close/>
                </a:path>
              </a:pathLst>
            </a:custGeom>
            <a:solidFill>
              <a:schemeClr val="accent5"/>
            </a:solidFill>
            <a:ln w="9525" cap="flat" cmpd="sng" algn="ctr">
              <a:noFill/>
              <a:prstDash val="solid"/>
            </a:ln>
            <a:effectLst/>
          </p:spPr>
          <p:txBody>
            <a:bodyPr lIns="101456" tIns="50729" rIns="101456" bIns="50729" rtlCol="0" anchor="ctr"/>
            <a:lstStyle/>
            <a:p>
              <a:pPr algn="ctr" defTabSz="1014582">
                <a:defRPr/>
              </a:pPr>
              <a:endParaRPr lang="en-US" sz="2220" kern="0">
                <a:solidFill>
                  <a:sysClr val="window" lastClr="FFFFFF"/>
                </a:solidFill>
                <a:latin typeface="Ebrima" panose="02000000000000000000" pitchFamily="2" charset="0"/>
                <a:ea typeface="Ebrima" panose="02000000000000000000" pitchFamily="2" charset="0"/>
                <a:cs typeface="Ebrima" panose="02000000000000000000" pitchFamily="2" charset="0"/>
                <a:sym typeface="HP Simplified"/>
              </a:endParaRPr>
            </a:p>
          </p:txBody>
        </p:sp>
        <p:grpSp>
          <p:nvGrpSpPr>
            <p:cNvPr id="10" name="Group 381">
              <a:extLst>
                <a:ext uri="{FF2B5EF4-FFF2-40B4-BE49-F238E27FC236}">
                  <a16:creationId xmlns:a16="http://schemas.microsoft.com/office/drawing/2014/main" id="{23E0F212-6F83-4AAB-9BCB-1E7C228E3238}"/>
                </a:ext>
              </a:extLst>
            </p:cNvPr>
            <p:cNvGrpSpPr/>
            <p:nvPr>
              <p:custDataLst>
                <p:tags r:id="rId8"/>
              </p:custDataLst>
            </p:nvPr>
          </p:nvGrpSpPr>
          <p:grpSpPr>
            <a:xfrm>
              <a:off x="8223816" y="2744518"/>
              <a:ext cx="686106" cy="914718"/>
              <a:chOff x="18593981" y="3309938"/>
              <a:chExt cx="1818507" cy="2424435"/>
            </a:xfrm>
          </p:grpSpPr>
          <p:sp>
            <p:nvSpPr>
              <p:cNvPr id="134" name="Can 382">
                <a:extLst>
                  <a:ext uri="{FF2B5EF4-FFF2-40B4-BE49-F238E27FC236}">
                    <a16:creationId xmlns:a16="http://schemas.microsoft.com/office/drawing/2014/main" id="{E24610EF-3082-4E22-89CE-4C31161011E0}"/>
                  </a:ext>
                </a:extLst>
              </p:cNvPr>
              <p:cNvSpPr/>
              <p:nvPr/>
            </p:nvSpPr>
            <p:spPr>
              <a:xfrm>
                <a:off x="18593981" y="4870587"/>
                <a:ext cx="1818502" cy="863786"/>
              </a:xfrm>
              <a:prstGeom prst="can">
                <a:avLst/>
              </a:prstGeom>
              <a:solidFill>
                <a:schemeClr val="tx2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504442"/>
                <a:endParaRPr lang="en-US" sz="1998">
                  <a:solidFill>
                    <a:prstClr val="white"/>
                  </a:solidFill>
                  <a:latin typeface="Ebrima" panose="02000000000000000000" pitchFamily="2" charset="0"/>
                  <a:ea typeface="Ebrima" panose="02000000000000000000" pitchFamily="2" charset="0"/>
                  <a:cs typeface="Ebrima" panose="02000000000000000000" pitchFamily="2" charset="0"/>
                </a:endParaRPr>
              </a:p>
            </p:txBody>
          </p:sp>
          <p:sp>
            <p:nvSpPr>
              <p:cNvPr id="135" name="Oval 383">
                <a:extLst>
                  <a:ext uri="{FF2B5EF4-FFF2-40B4-BE49-F238E27FC236}">
                    <a16:creationId xmlns:a16="http://schemas.microsoft.com/office/drawing/2014/main" id="{445C414B-F9A1-4CD4-A5BC-3389B8DFD75F}"/>
                  </a:ext>
                </a:extLst>
              </p:cNvPr>
              <p:cNvSpPr/>
              <p:nvPr/>
            </p:nvSpPr>
            <p:spPr>
              <a:xfrm>
                <a:off x="18603634" y="4868109"/>
                <a:ext cx="1803632" cy="224952"/>
              </a:xfrm>
              <a:prstGeom prst="ellipse">
                <a:avLst/>
              </a:prstGeom>
              <a:solidFill>
                <a:schemeClr val="accent6"/>
              </a:solidFill>
              <a:ln w="6350" cmpd="sng">
                <a:solidFill>
                  <a:srgbClr val="FFFFFF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504442"/>
                <a:endParaRPr lang="en-US" sz="1998">
                  <a:solidFill>
                    <a:prstClr val="white"/>
                  </a:solidFill>
                  <a:latin typeface="Ebrima" panose="02000000000000000000" pitchFamily="2" charset="0"/>
                  <a:ea typeface="Ebrima" panose="02000000000000000000" pitchFamily="2" charset="0"/>
                  <a:cs typeface="Ebrima" panose="02000000000000000000" pitchFamily="2" charset="0"/>
                </a:endParaRPr>
              </a:p>
            </p:txBody>
          </p:sp>
          <p:sp>
            <p:nvSpPr>
              <p:cNvPr id="136" name="Can 384">
                <a:extLst>
                  <a:ext uri="{FF2B5EF4-FFF2-40B4-BE49-F238E27FC236}">
                    <a16:creationId xmlns:a16="http://schemas.microsoft.com/office/drawing/2014/main" id="{F247AED8-6E4F-4BBC-A6EE-45DFA6DC19C7}"/>
                  </a:ext>
                </a:extLst>
              </p:cNvPr>
              <p:cNvSpPr/>
              <p:nvPr/>
            </p:nvSpPr>
            <p:spPr>
              <a:xfrm>
                <a:off x="18593981" y="4095160"/>
                <a:ext cx="1818502" cy="863786"/>
              </a:xfrm>
              <a:prstGeom prst="can">
                <a:avLst/>
              </a:prstGeom>
              <a:solidFill>
                <a:schemeClr val="tx2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504442"/>
                <a:endParaRPr lang="en-US" sz="1998">
                  <a:solidFill>
                    <a:prstClr val="white"/>
                  </a:solidFill>
                  <a:latin typeface="Ebrima" panose="02000000000000000000" pitchFamily="2" charset="0"/>
                  <a:ea typeface="Ebrima" panose="02000000000000000000" pitchFamily="2" charset="0"/>
                  <a:cs typeface="Ebrima" panose="02000000000000000000" pitchFamily="2" charset="0"/>
                </a:endParaRPr>
              </a:p>
            </p:txBody>
          </p:sp>
          <p:sp>
            <p:nvSpPr>
              <p:cNvPr id="137" name="Oval 385">
                <a:extLst>
                  <a:ext uri="{FF2B5EF4-FFF2-40B4-BE49-F238E27FC236}">
                    <a16:creationId xmlns:a16="http://schemas.microsoft.com/office/drawing/2014/main" id="{29951F85-50C9-4868-87B8-18CE1D25ED29}"/>
                  </a:ext>
                </a:extLst>
              </p:cNvPr>
              <p:cNvSpPr/>
              <p:nvPr/>
            </p:nvSpPr>
            <p:spPr>
              <a:xfrm>
                <a:off x="18603634" y="4096585"/>
                <a:ext cx="1803632" cy="224952"/>
              </a:xfrm>
              <a:prstGeom prst="ellipse">
                <a:avLst/>
              </a:prstGeom>
              <a:solidFill>
                <a:schemeClr val="accent6"/>
              </a:solidFill>
              <a:ln w="6350" cmpd="sng">
                <a:solidFill>
                  <a:srgbClr val="FFFFFF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504442"/>
                <a:endParaRPr lang="en-US" sz="1998">
                  <a:solidFill>
                    <a:prstClr val="white"/>
                  </a:solidFill>
                  <a:latin typeface="Ebrima" panose="02000000000000000000" pitchFamily="2" charset="0"/>
                  <a:ea typeface="Ebrima" panose="02000000000000000000" pitchFamily="2" charset="0"/>
                  <a:cs typeface="Ebrima" panose="02000000000000000000" pitchFamily="2" charset="0"/>
                </a:endParaRPr>
              </a:p>
            </p:txBody>
          </p:sp>
          <p:sp>
            <p:nvSpPr>
              <p:cNvPr id="138" name="Can 386">
                <a:extLst>
                  <a:ext uri="{FF2B5EF4-FFF2-40B4-BE49-F238E27FC236}">
                    <a16:creationId xmlns:a16="http://schemas.microsoft.com/office/drawing/2014/main" id="{00DB6115-88B4-4834-9A94-AC570DF25082}"/>
                  </a:ext>
                </a:extLst>
              </p:cNvPr>
              <p:cNvSpPr/>
              <p:nvPr/>
            </p:nvSpPr>
            <p:spPr>
              <a:xfrm>
                <a:off x="18593986" y="3318957"/>
                <a:ext cx="1818502" cy="863781"/>
              </a:xfrm>
              <a:prstGeom prst="can">
                <a:avLst/>
              </a:prstGeom>
              <a:solidFill>
                <a:schemeClr val="tx2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504442"/>
                <a:endParaRPr lang="en-US" sz="1998">
                  <a:solidFill>
                    <a:prstClr val="white"/>
                  </a:solidFill>
                  <a:latin typeface="Ebrima" panose="02000000000000000000" pitchFamily="2" charset="0"/>
                  <a:ea typeface="Ebrima" panose="02000000000000000000" pitchFamily="2" charset="0"/>
                  <a:cs typeface="Ebrima" panose="02000000000000000000" pitchFamily="2" charset="0"/>
                </a:endParaRPr>
              </a:p>
            </p:txBody>
          </p:sp>
          <p:sp>
            <p:nvSpPr>
              <p:cNvPr id="139" name="Oval 387">
                <a:extLst>
                  <a:ext uri="{FF2B5EF4-FFF2-40B4-BE49-F238E27FC236}">
                    <a16:creationId xmlns:a16="http://schemas.microsoft.com/office/drawing/2014/main" id="{D4DCDF01-6B6D-4214-8B10-0779ED1938D2}"/>
                  </a:ext>
                </a:extLst>
              </p:cNvPr>
              <p:cNvSpPr/>
              <p:nvPr/>
            </p:nvSpPr>
            <p:spPr>
              <a:xfrm>
                <a:off x="18603634" y="3309938"/>
                <a:ext cx="1803632" cy="224952"/>
              </a:xfrm>
              <a:prstGeom prst="ellipse">
                <a:avLst/>
              </a:prstGeom>
              <a:solidFill>
                <a:schemeClr val="accent6"/>
              </a:solidFill>
              <a:ln w="6350" cmpd="sng">
                <a:solidFill>
                  <a:schemeClr val="accent5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504442"/>
                <a:endParaRPr lang="en-US" sz="1998">
                  <a:solidFill>
                    <a:prstClr val="white"/>
                  </a:solidFill>
                  <a:latin typeface="Ebrima" panose="02000000000000000000" pitchFamily="2" charset="0"/>
                  <a:ea typeface="Ebrima" panose="02000000000000000000" pitchFamily="2" charset="0"/>
                  <a:cs typeface="Ebrima" panose="02000000000000000000" pitchFamily="2" charset="0"/>
                </a:endParaRPr>
              </a:p>
            </p:txBody>
          </p:sp>
        </p:grpSp>
        <p:grpSp>
          <p:nvGrpSpPr>
            <p:cNvPr id="11" name="Group 388">
              <a:extLst>
                <a:ext uri="{FF2B5EF4-FFF2-40B4-BE49-F238E27FC236}">
                  <a16:creationId xmlns:a16="http://schemas.microsoft.com/office/drawing/2014/main" id="{52AD07D6-B381-466D-963E-28DFD784CFED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1219542" y="2184791"/>
              <a:ext cx="491178" cy="654845"/>
              <a:chOff x="3019193" y="2343068"/>
              <a:chExt cx="846725" cy="1128866"/>
            </a:xfrm>
          </p:grpSpPr>
          <p:sp>
            <p:nvSpPr>
              <p:cNvPr id="128" name="Can 389">
                <a:extLst>
                  <a:ext uri="{FF2B5EF4-FFF2-40B4-BE49-F238E27FC236}">
                    <a16:creationId xmlns:a16="http://schemas.microsoft.com/office/drawing/2014/main" id="{B61D5CE6-3296-48F6-8827-78ED216968CB}"/>
                  </a:ext>
                </a:extLst>
              </p:cNvPr>
              <p:cNvSpPr/>
              <p:nvPr/>
            </p:nvSpPr>
            <p:spPr>
              <a:xfrm>
                <a:off x="3019193" y="3069743"/>
                <a:ext cx="846720" cy="402191"/>
              </a:xfrm>
              <a:prstGeom prst="can">
                <a:avLst/>
              </a:prstGeom>
              <a:solidFill>
                <a:schemeClr val="bg2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504442"/>
                <a:endParaRPr lang="en-US" sz="1998">
                  <a:solidFill>
                    <a:prstClr val="white"/>
                  </a:solidFill>
                  <a:latin typeface="Ebrima" panose="02000000000000000000" pitchFamily="2" charset="0"/>
                  <a:ea typeface="Ebrima" panose="02000000000000000000" pitchFamily="2" charset="0"/>
                  <a:cs typeface="Ebrima" panose="02000000000000000000" pitchFamily="2" charset="0"/>
                </a:endParaRPr>
              </a:p>
            </p:txBody>
          </p:sp>
          <p:sp>
            <p:nvSpPr>
              <p:cNvPr id="129" name="Oval 390">
                <a:extLst>
                  <a:ext uri="{FF2B5EF4-FFF2-40B4-BE49-F238E27FC236}">
                    <a16:creationId xmlns:a16="http://schemas.microsoft.com/office/drawing/2014/main" id="{B91D2DBD-D5DB-4909-B0C6-4DEE33CD7EA4}"/>
                  </a:ext>
                </a:extLst>
              </p:cNvPr>
              <p:cNvSpPr/>
              <p:nvPr/>
            </p:nvSpPr>
            <p:spPr>
              <a:xfrm>
                <a:off x="3023686" y="3068585"/>
                <a:ext cx="839795" cy="104739"/>
              </a:xfrm>
              <a:prstGeom prst="ellipse">
                <a:avLst/>
              </a:prstGeom>
              <a:solidFill>
                <a:schemeClr val="accent6"/>
              </a:solidFill>
              <a:ln w="6350" cmpd="sng">
                <a:solidFill>
                  <a:srgbClr val="FFFFFF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504442"/>
                <a:endParaRPr lang="en-US" sz="1998">
                  <a:solidFill>
                    <a:prstClr val="white"/>
                  </a:solidFill>
                  <a:latin typeface="Ebrima" panose="02000000000000000000" pitchFamily="2" charset="0"/>
                  <a:ea typeface="Ebrima" panose="02000000000000000000" pitchFamily="2" charset="0"/>
                  <a:cs typeface="Ebrima" panose="02000000000000000000" pitchFamily="2" charset="0"/>
                </a:endParaRPr>
              </a:p>
            </p:txBody>
          </p:sp>
          <p:sp>
            <p:nvSpPr>
              <p:cNvPr id="130" name="Can 391">
                <a:extLst>
                  <a:ext uri="{FF2B5EF4-FFF2-40B4-BE49-F238E27FC236}">
                    <a16:creationId xmlns:a16="http://schemas.microsoft.com/office/drawing/2014/main" id="{8F7BB575-EC01-497D-8750-50FDB84ED94A}"/>
                  </a:ext>
                </a:extLst>
              </p:cNvPr>
              <p:cNvSpPr/>
              <p:nvPr/>
            </p:nvSpPr>
            <p:spPr>
              <a:xfrm>
                <a:off x="3019198" y="2708693"/>
                <a:ext cx="846718" cy="402191"/>
              </a:xfrm>
              <a:prstGeom prst="can">
                <a:avLst/>
              </a:prstGeom>
              <a:solidFill>
                <a:srgbClr val="E21C23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504442"/>
                <a:endParaRPr lang="en-US" sz="1998">
                  <a:solidFill>
                    <a:schemeClr val="tx1"/>
                  </a:solidFill>
                  <a:latin typeface="Ebrima" panose="02000000000000000000" pitchFamily="2" charset="0"/>
                  <a:ea typeface="Ebrima" panose="02000000000000000000" pitchFamily="2" charset="0"/>
                  <a:cs typeface="Ebrima" panose="02000000000000000000" pitchFamily="2" charset="0"/>
                </a:endParaRPr>
              </a:p>
            </p:txBody>
          </p:sp>
          <p:sp>
            <p:nvSpPr>
              <p:cNvPr id="131" name="Oval 392">
                <a:extLst>
                  <a:ext uri="{FF2B5EF4-FFF2-40B4-BE49-F238E27FC236}">
                    <a16:creationId xmlns:a16="http://schemas.microsoft.com/office/drawing/2014/main" id="{D6A69DA6-620A-4331-8BFA-27D7E52B211B}"/>
                  </a:ext>
                </a:extLst>
              </p:cNvPr>
              <p:cNvSpPr/>
              <p:nvPr/>
            </p:nvSpPr>
            <p:spPr>
              <a:xfrm>
                <a:off x="3023687" y="2709352"/>
                <a:ext cx="839795" cy="104739"/>
              </a:xfrm>
              <a:prstGeom prst="ellipse">
                <a:avLst/>
              </a:prstGeom>
              <a:solidFill>
                <a:schemeClr val="accent6"/>
              </a:solidFill>
              <a:ln w="6350" cmpd="sng">
                <a:solidFill>
                  <a:srgbClr val="FFFFFF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504442"/>
                <a:endParaRPr lang="en-US" sz="1998">
                  <a:solidFill>
                    <a:prstClr val="white"/>
                  </a:solidFill>
                  <a:latin typeface="Ebrima" panose="02000000000000000000" pitchFamily="2" charset="0"/>
                  <a:ea typeface="Ebrima" panose="02000000000000000000" pitchFamily="2" charset="0"/>
                  <a:cs typeface="Ebrima" panose="02000000000000000000" pitchFamily="2" charset="0"/>
                </a:endParaRPr>
              </a:p>
            </p:txBody>
          </p:sp>
          <p:sp>
            <p:nvSpPr>
              <p:cNvPr id="132" name="Can 393">
                <a:extLst>
                  <a:ext uri="{FF2B5EF4-FFF2-40B4-BE49-F238E27FC236}">
                    <a16:creationId xmlns:a16="http://schemas.microsoft.com/office/drawing/2014/main" id="{F8D5711B-A5B6-43D0-BDFB-33C18864D88D}"/>
                  </a:ext>
                </a:extLst>
              </p:cNvPr>
              <p:cNvSpPr/>
              <p:nvPr/>
            </p:nvSpPr>
            <p:spPr>
              <a:xfrm>
                <a:off x="3019198" y="2347272"/>
                <a:ext cx="846720" cy="402186"/>
              </a:xfrm>
              <a:prstGeom prst="can">
                <a:avLst/>
              </a:prstGeom>
              <a:solidFill>
                <a:schemeClr val="tx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504442"/>
                <a:endParaRPr lang="en-US" sz="1998">
                  <a:solidFill>
                    <a:prstClr val="white"/>
                  </a:solidFill>
                  <a:latin typeface="Ebrima" panose="02000000000000000000" pitchFamily="2" charset="0"/>
                  <a:ea typeface="Ebrima" panose="02000000000000000000" pitchFamily="2" charset="0"/>
                  <a:cs typeface="Ebrima" panose="02000000000000000000" pitchFamily="2" charset="0"/>
                </a:endParaRPr>
              </a:p>
            </p:txBody>
          </p:sp>
          <p:sp>
            <p:nvSpPr>
              <p:cNvPr id="133" name="Oval 394">
                <a:extLst>
                  <a:ext uri="{FF2B5EF4-FFF2-40B4-BE49-F238E27FC236}">
                    <a16:creationId xmlns:a16="http://schemas.microsoft.com/office/drawing/2014/main" id="{00F6882C-2090-4EB3-AF41-0246D171AE89}"/>
                  </a:ext>
                </a:extLst>
              </p:cNvPr>
              <p:cNvSpPr/>
              <p:nvPr/>
            </p:nvSpPr>
            <p:spPr>
              <a:xfrm>
                <a:off x="3023689" y="2343068"/>
                <a:ext cx="839795" cy="104739"/>
              </a:xfrm>
              <a:prstGeom prst="ellipse">
                <a:avLst/>
              </a:prstGeom>
              <a:solidFill>
                <a:schemeClr val="accent6"/>
              </a:solidFill>
              <a:ln w="6350" cmpd="sng">
                <a:solidFill>
                  <a:srgbClr val="0096D6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504442"/>
                <a:endParaRPr lang="en-US" sz="1998">
                  <a:solidFill>
                    <a:prstClr val="white"/>
                  </a:solidFill>
                  <a:latin typeface="Ebrima" panose="02000000000000000000" pitchFamily="2" charset="0"/>
                  <a:ea typeface="Ebrima" panose="02000000000000000000" pitchFamily="2" charset="0"/>
                  <a:cs typeface="Ebrima" panose="02000000000000000000" pitchFamily="2" charset="0"/>
                </a:endParaRPr>
              </a:p>
            </p:txBody>
          </p:sp>
        </p:grpSp>
        <p:grpSp>
          <p:nvGrpSpPr>
            <p:cNvPr id="12" name="Group 395">
              <a:extLst>
                <a:ext uri="{FF2B5EF4-FFF2-40B4-BE49-F238E27FC236}">
                  <a16:creationId xmlns:a16="http://schemas.microsoft.com/office/drawing/2014/main" id="{479645BE-21EC-449F-8493-1E3BC9E9D56F}"/>
                </a:ext>
              </a:extLst>
            </p:cNvPr>
            <p:cNvGrpSpPr/>
            <p:nvPr>
              <p:custDataLst>
                <p:tags r:id="rId10"/>
              </p:custDataLst>
            </p:nvPr>
          </p:nvGrpSpPr>
          <p:grpSpPr>
            <a:xfrm>
              <a:off x="5492393" y="3611764"/>
              <a:ext cx="606419" cy="589251"/>
              <a:chOff x="6054984" y="688905"/>
              <a:chExt cx="650618" cy="550259"/>
            </a:xfrm>
            <a:solidFill>
              <a:schemeClr val="accent1"/>
            </a:solidFill>
          </p:grpSpPr>
          <p:sp>
            <p:nvSpPr>
              <p:cNvPr id="125" name="Freeform 70">
                <a:extLst>
                  <a:ext uri="{FF2B5EF4-FFF2-40B4-BE49-F238E27FC236}">
                    <a16:creationId xmlns:a16="http://schemas.microsoft.com/office/drawing/2014/main" id="{0DCFAEFF-80CC-4A21-9198-CA0DB0CCB52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524882" y="717481"/>
                <a:ext cx="180720" cy="475132"/>
              </a:xfrm>
              <a:custGeom>
                <a:avLst/>
                <a:gdLst>
                  <a:gd name="T0" fmla="*/ 7 w 30"/>
                  <a:gd name="T1" fmla="*/ 8 h 79"/>
                  <a:gd name="T2" fmla="*/ 15 w 30"/>
                  <a:gd name="T3" fmla="*/ 0 h 79"/>
                  <a:gd name="T4" fmla="*/ 23 w 30"/>
                  <a:gd name="T5" fmla="*/ 8 h 79"/>
                  <a:gd name="T6" fmla="*/ 15 w 30"/>
                  <a:gd name="T7" fmla="*/ 16 h 79"/>
                  <a:gd name="T8" fmla="*/ 7 w 30"/>
                  <a:gd name="T9" fmla="*/ 8 h 79"/>
                  <a:gd name="T10" fmla="*/ 26 w 30"/>
                  <a:gd name="T11" fmla="*/ 20 h 79"/>
                  <a:gd name="T12" fmla="*/ 4 w 30"/>
                  <a:gd name="T13" fmla="*/ 20 h 79"/>
                  <a:gd name="T14" fmla="*/ 0 w 30"/>
                  <a:gd name="T15" fmla="*/ 24 h 79"/>
                  <a:gd name="T16" fmla="*/ 0 w 30"/>
                  <a:gd name="T17" fmla="*/ 45 h 79"/>
                  <a:gd name="T18" fmla="*/ 4 w 30"/>
                  <a:gd name="T19" fmla="*/ 48 h 79"/>
                  <a:gd name="T20" fmla="*/ 7 w 30"/>
                  <a:gd name="T21" fmla="*/ 48 h 79"/>
                  <a:gd name="T22" fmla="*/ 9 w 30"/>
                  <a:gd name="T23" fmla="*/ 78 h 79"/>
                  <a:gd name="T24" fmla="*/ 11 w 30"/>
                  <a:gd name="T25" fmla="*/ 79 h 79"/>
                  <a:gd name="T26" fmla="*/ 20 w 30"/>
                  <a:gd name="T27" fmla="*/ 79 h 79"/>
                  <a:gd name="T28" fmla="*/ 22 w 30"/>
                  <a:gd name="T29" fmla="*/ 78 h 79"/>
                  <a:gd name="T30" fmla="*/ 22 w 30"/>
                  <a:gd name="T31" fmla="*/ 78 h 79"/>
                  <a:gd name="T32" fmla="*/ 24 w 30"/>
                  <a:gd name="T33" fmla="*/ 48 h 79"/>
                  <a:gd name="T34" fmla="*/ 26 w 30"/>
                  <a:gd name="T35" fmla="*/ 48 h 79"/>
                  <a:gd name="T36" fmla="*/ 30 w 30"/>
                  <a:gd name="T37" fmla="*/ 45 h 79"/>
                  <a:gd name="T38" fmla="*/ 30 w 30"/>
                  <a:gd name="T39" fmla="*/ 24 h 79"/>
                  <a:gd name="T40" fmla="*/ 26 w 30"/>
                  <a:gd name="T41" fmla="*/ 20 h 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30" h="79">
                    <a:moveTo>
                      <a:pt x="7" y="8"/>
                    </a:moveTo>
                    <a:cubicBezTo>
                      <a:pt x="7" y="2"/>
                      <a:pt x="9" y="0"/>
                      <a:pt x="15" y="0"/>
                    </a:cubicBezTo>
                    <a:cubicBezTo>
                      <a:pt x="21" y="0"/>
                      <a:pt x="23" y="2"/>
                      <a:pt x="23" y="8"/>
                    </a:cubicBezTo>
                    <a:cubicBezTo>
                      <a:pt x="23" y="14"/>
                      <a:pt x="21" y="16"/>
                      <a:pt x="15" y="16"/>
                    </a:cubicBezTo>
                    <a:cubicBezTo>
                      <a:pt x="9" y="16"/>
                      <a:pt x="7" y="14"/>
                      <a:pt x="7" y="8"/>
                    </a:cubicBezTo>
                    <a:close/>
                    <a:moveTo>
                      <a:pt x="26" y="20"/>
                    </a:moveTo>
                    <a:cubicBezTo>
                      <a:pt x="4" y="20"/>
                      <a:pt x="4" y="20"/>
                      <a:pt x="4" y="20"/>
                    </a:cubicBezTo>
                    <a:cubicBezTo>
                      <a:pt x="2" y="20"/>
                      <a:pt x="0" y="22"/>
                      <a:pt x="0" y="24"/>
                    </a:cubicBezTo>
                    <a:cubicBezTo>
                      <a:pt x="0" y="45"/>
                      <a:pt x="0" y="45"/>
                      <a:pt x="0" y="45"/>
                    </a:cubicBezTo>
                    <a:cubicBezTo>
                      <a:pt x="0" y="47"/>
                      <a:pt x="2" y="48"/>
                      <a:pt x="4" y="48"/>
                    </a:cubicBezTo>
                    <a:cubicBezTo>
                      <a:pt x="7" y="48"/>
                      <a:pt x="7" y="48"/>
                      <a:pt x="7" y="48"/>
                    </a:cubicBezTo>
                    <a:cubicBezTo>
                      <a:pt x="7" y="55"/>
                      <a:pt x="8" y="74"/>
                      <a:pt x="9" y="78"/>
                    </a:cubicBezTo>
                    <a:cubicBezTo>
                      <a:pt x="9" y="78"/>
                      <a:pt x="10" y="79"/>
                      <a:pt x="11" y="79"/>
                    </a:cubicBezTo>
                    <a:cubicBezTo>
                      <a:pt x="20" y="79"/>
                      <a:pt x="20" y="79"/>
                      <a:pt x="20" y="79"/>
                    </a:cubicBezTo>
                    <a:cubicBezTo>
                      <a:pt x="21" y="79"/>
                      <a:pt x="22" y="78"/>
                      <a:pt x="22" y="78"/>
                    </a:cubicBezTo>
                    <a:cubicBezTo>
                      <a:pt x="22" y="78"/>
                      <a:pt x="22" y="78"/>
                      <a:pt x="22" y="78"/>
                    </a:cubicBezTo>
                    <a:cubicBezTo>
                      <a:pt x="23" y="74"/>
                      <a:pt x="24" y="55"/>
                      <a:pt x="24" y="48"/>
                    </a:cubicBezTo>
                    <a:cubicBezTo>
                      <a:pt x="26" y="48"/>
                      <a:pt x="26" y="48"/>
                      <a:pt x="26" y="48"/>
                    </a:cubicBezTo>
                    <a:cubicBezTo>
                      <a:pt x="29" y="48"/>
                      <a:pt x="30" y="47"/>
                      <a:pt x="30" y="45"/>
                    </a:cubicBezTo>
                    <a:cubicBezTo>
                      <a:pt x="30" y="24"/>
                      <a:pt x="30" y="24"/>
                      <a:pt x="30" y="24"/>
                    </a:cubicBezTo>
                    <a:cubicBezTo>
                      <a:pt x="30" y="22"/>
                      <a:pt x="29" y="20"/>
                      <a:pt x="26" y="20"/>
                    </a:cubicBez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01506" tIns="50752" rIns="101506" bIns="50752" numCol="1" anchor="t" anchorCtr="0" compatLnSpc="1">
                <a:prstTxWarp prst="textNoShape">
                  <a:avLst/>
                </a:prstTxWarp>
              </a:bodyPr>
              <a:lstStyle/>
              <a:p>
                <a:pPr defTabSz="504442"/>
                <a:endParaRPr lang="en-US" sz="1998">
                  <a:solidFill>
                    <a:prstClr val="black"/>
                  </a:solidFill>
                  <a:latin typeface="Ebrima" panose="02000000000000000000" pitchFamily="2" charset="0"/>
                  <a:ea typeface="Ebrima" panose="02000000000000000000" pitchFamily="2" charset="0"/>
                  <a:cs typeface="Ebrima" panose="02000000000000000000" pitchFamily="2" charset="0"/>
                </a:endParaRPr>
              </a:p>
            </p:txBody>
          </p:sp>
          <p:sp>
            <p:nvSpPr>
              <p:cNvPr id="126" name="Freeform 70">
                <a:extLst>
                  <a:ext uri="{FF2B5EF4-FFF2-40B4-BE49-F238E27FC236}">
                    <a16:creationId xmlns:a16="http://schemas.microsoft.com/office/drawing/2014/main" id="{2EB5775F-9522-435D-8B77-D27B3CBD4BF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054984" y="720656"/>
                <a:ext cx="180720" cy="475132"/>
              </a:xfrm>
              <a:custGeom>
                <a:avLst/>
                <a:gdLst>
                  <a:gd name="T0" fmla="*/ 7 w 30"/>
                  <a:gd name="T1" fmla="*/ 8 h 79"/>
                  <a:gd name="T2" fmla="*/ 15 w 30"/>
                  <a:gd name="T3" fmla="*/ 0 h 79"/>
                  <a:gd name="T4" fmla="*/ 23 w 30"/>
                  <a:gd name="T5" fmla="*/ 8 h 79"/>
                  <a:gd name="T6" fmla="*/ 15 w 30"/>
                  <a:gd name="T7" fmla="*/ 16 h 79"/>
                  <a:gd name="T8" fmla="*/ 7 w 30"/>
                  <a:gd name="T9" fmla="*/ 8 h 79"/>
                  <a:gd name="T10" fmla="*/ 26 w 30"/>
                  <a:gd name="T11" fmla="*/ 20 h 79"/>
                  <a:gd name="T12" fmla="*/ 4 w 30"/>
                  <a:gd name="T13" fmla="*/ 20 h 79"/>
                  <a:gd name="T14" fmla="*/ 0 w 30"/>
                  <a:gd name="T15" fmla="*/ 24 h 79"/>
                  <a:gd name="T16" fmla="*/ 0 w 30"/>
                  <a:gd name="T17" fmla="*/ 45 h 79"/>
                  <a:gd name="T18" fmla="*/ 4 w 30"/>
                  <a:gd name="T19" fmla="*/ 48 h 79"/>
                  <a:gd name="T20" fmla="*/ 7 w 30"/>
                  <a:gd name="T21" fmla="*/ 48 h 79"/>
                  <a:gd name="T22" fmla="*/ 9 w 30"/>
                  <a:gd name="T23" fmla="*/ 78 h 79"/>
                  <a:gd name="T24" fmla="*/ 11 w 30"/>
                  <a:gd name="T25" fmla="*/ 79 h 79"/>
                  <a:gd name="T26" fmla="*/ 20 w 30"/>
                  <a:gd name="T27" fmla="*/ 79 h 79"/>
                  <a:gd name="T28" fmla="*/ 22 w 30"/>
                  <a:gd name="T29" fmla="*/ 78 h 79"/>
                  <a:gd name="T30" fmla="*/ 22 w 30"/>
                  <a:gd name="T31" fmla="*/ 78 h 79"/>
                  <a:gd name="T32" fmla="*/ 24 w 30"/>
                  <a:gd name="T33" fmla="*/ 48 h 79"/>
                  <a:gd name="T34" fmla="*/ 26 w 30"/>
                  <a:gd name="T35" fmla="*/ 48 h 79"/>
                  <a:gd name="T36" fmla="*/ 30 w 30"/>
                  <a:gd name="T37" fmla="*/ 45 h 79"/>
                  <a:gd name="T38" fmla="*/ 30 w 30"/>
                  <a:gd name="T39" fmla="*/ 24 h 79"/>
                  <a:gd name="T40" fmla="*/ 26 w 30"/>
                  <a:gd name="T41" fmla="*/ 20 h 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30" h="79">
                    <a:moveTo>
                      <a:pt x="7" y="8"/>
                    </a:moveTo>
                    <a:cubicBezTo>
                      <a:pt x="7" y="2"/>
                      <a:pt x="9" y="0"/>
                      <a:pt x="15" y="0"/>
                    </a:cubicBezTo>
                    <a:cubicBezTo>
                      <a:pt x="21" y="0"/>
                      <a:pt x="23" y="2"/>
                      <a:pt x="23" y="8"/>
                    </a:cubicBezTo>
                    <a:cubicBezTo>
                      <a:pt x="23" y="14"/>
                      <a:pt x="21" y="16"/>
                      <a:pt x="15" y="16"/>
                    </a:cubicBezTo>
                    <a:cubicBezTo>
                      <a:pt x="9" y="16"/>
                      <a:pt x="7" y="14"/>
                      <a:pt x="7" y="8"/>
                    </a:cubicBezTo>
                    <a:close/>
                    <a:moveTo>
                      <a:pt x="26" y="20"/>
                    </a:moveTo>
                    <a:cubicBezTo>
                      <a:pt x="4" y="20"/>
                      <a:pt x="4" y="20"/>
                      <a:pt x="4" y="20"/>
                    </a:cubicBezTo>
                    <a:cubicBezTo>
                      <a:pt x="2" y="20"/>
                      <a:pt x="0" y="22"/>
                      <a:pt x="0" y="24"/>
                    </a:cubicBezTo>
                    <a:cubicBezTo>
                      <a:pt x="0" y="45"/>
                      <a:pt x="0" y="45"/>
                      <a:pt x="0" y="45"/>
                    </a:cubicBezTo>
                    <a:cubicBezTo>
                      <a:pt x="0" y="47"/>
                      <a:pt x="2" y="48"/>
                      <a:pt x="4" y="48"/>
                    </a:cubicBezTo>
                    <a:cubicBezTo>
                      <a:pt x="7" y="48"/>
                      <a:pt x="7" y="48"/>
                      <a:pt x="7" y="48"/>
                    </a:cubicBezTo>
                    <a:cubicBezTo>
                      <a:pt x="7" y="55"/>
                      <a:pt x="8" y="74"/>
                      <a:pt x="9" y="78"/>
                    </a:cubicBezTo>
                    <a:cubicBezTo>
                      <a:pt x="9" y="78"/>
                      <a:pt x="10" y="79"/>
                      <a:pt x="11" y="79"/>
                    </a:cubicBezTo>
                    <a:cubicBezTo>
                      <a:pt x="20" y="79"/>
                      <a:pt x="20" y="79"/>
                      <a:pt x="20" y="79"/>
                    </a:cubicBezTo>
                    <a:cubicBezTo>
                      <a:pt x="21" y="79"/>
                      <a:pt x="22" y="78"/>
                      <a:pt x="22" y="78"/>
                    </a:cubicBezTo>
                    <a:cubicBezTo>
                      <a:pt x="22" y="78"/>
                      <a:pt x="22" y="78"/>
                      <a:pt x="22" y="78"/>
                    </a:cubicBezTo>
                    <a:cubicBezTo>
                      <a:pt x="23" y="74"/>
                      <a:pt x="24" y="55"/>
                      <a:pt x="24" y="48"/>
                    </a:cubicBezTo>
                    <a:cubicBezTo>
                      <a:pt x="26" y="48"/>
                      <a:pt x="26" y="48"/>
                      <a:pt x="26" y="48"/>
                    </a:cubicBezTo>
                    <a:cubicBezTo>
                      <a:pt x="29" y="48"/>
                      <a:pt x="30" y="47"/>
                      <a:pt x="30" y="45"/>
                    </a:cubicBezTo>
                    <a:cubicBezTo>
                      <a:pt x="30" y="24"/>
                      <a:pt x="30" y="24"/>
                      <a:pt x="30" y="24"/>
                    </a:cubicBezTo>
                    <a:cubicBezTo>
                      <a:pt x="30" y="22"/>
                      <a:pt x="29" y="20"/>
                      <a:pt x="26" y="20"/>
                    </a:cubicBez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01506" tIns="50752" rIns="101506" bIns="50752" numCol="1" anchor="t" anchorCtr="0" compatLnSpc="1">
                <a:prstTxWarp prst="textNoShape">
                  <a:avLst/>
                </a:prstTxWarp>
              </a:bodyPr>
              <a:lstStyle/>
              <a:p>
                <a:pPr defTabSz="504442"/>
                <a:endParaRPr lang="en-US" sz="1998">
                  <a:solidFill>
                    <a:prstClr val="black"/>
                  </a:solidFill>
                  <a:latin typeface="Ebrima" panose="02000000000000000000" pitchFamily="2" charset="0"/>
                  <a:ea typeface="Ebrima" panose="02000000000000000000" pitchFamily="2" charset="0"/>
                  <a:cs typeface="Ebrima" panose="02000000000000000000" pitchFamily="2" charset="0"/>
                </a:endParaRPr>
              </a:p>
            </p:txBody>
          </p:sp>
          <p:sp>
            <p:nvSpPr>
              <p:cNvPr id="127" name="Freeform 70">
                <a:extLst>
                  <a:ext uri="{FF2B5EF4-FFF2-40B4-BE49-F238E27FC236}">
                    <a16:creationId xmlns:a16="http://schemas.microsoft.com/office/drawing/2014/main" id="{3D6CA52C-D058-4F9E-9349-AAE5845A82A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275643" y="688905"/>
                <a:ext cx="209295" cy="550259"/>
              </a:xfrm>
              <a:custGeom>
                <a:avLst/>
                <a:gdLst>
                  <a:gd name="T0" fmla="*/ 7 w 30"/>
                  <a:gd name="T1" fmla="*/ 8 h 79"/>
                  <a:gd name="T2" fmla="*/ 15 w 30"/>
                  <a:gd name="T3" fmla="*/ 0 h 79"/>
                  <a:gd name="T4" fmla="*/ 23 w 30"/>
                  <a:gd name="T5" fmla="*/ 8 h 79"/>
                  <a:gd name="T6" fmla="*/ 15 w 30"/>
                  <a:gd name="T7" fmla="*/ 16 h 79"/>
                  <a:gd name="T8" fmla="*/ 7 w 30"/>
                  <a:gd name="T9" fmla="*/ 8 h 79"/>
                  <a:gd name="T10" fmla="*/ 26 w 30"/>
                  <a:gd name="T11" fmla="*/ 20 h 79"/>
                  <a:gd name="T12" fmla="*/ 4 w 30"/>
                  <a:gd name="T13" fmla="*/ 20 h 79"/>
                  <a:gd name="T14" fmla="*/ 0 w 30"/>
                  <a:gd name="T15" fmla="*/ 24 h 79"/>
                  <a:gd name="T16" fmla="*/ 0 w 30"/>
                  <a:gd name="T17" fmla="*/ 45 h 79"/>
                  <a:gd name="T18" fmla="*/ 4 w 30"/>
                  <a:gd name="T19" fmla="*/ 48 h 79"/>
                  <a:gd name="T20" fmla="*/ 7 w 30"/>
                  <a:gd name="T21" fmla="*/ 48 h 79"/>
                  <a:gd name="T22" fmla="*/ 9 w 30"/>
                  <a:gd name="T23" fmla="*/ 78 h 79"/>
                  <a:gd name="T24" fmla="*/ 11 w 30"/>
                  <a:gd name="T25" fmla="*/ 79 h 79"/>
                  <a:gd name="T26" fmla="*/ 20 w 30"/>
                  <a:gd name="T27" fmla="*/ 79 h 79"/>
                  <a:gd name="T28" fmla="*/ 22 w 30"/>
                  <a:gd name="T29" fmla="*/ 78 h 79"/>
                  <a:gd name="T30" fmla="*/ 22 w 30"/>
                  <a:gd name="T31" fmla="*/ 78 h 79"/>
                  <a:gd name="T32" fmla="*/ 24 w 30"/>
                  <a:gd name="T33" fmla="*/ 48 h 79"/>
                  <a:gd name="T34" fmla="*/ 26 w 30"/>
                  <a:gd name="T35" fmla="*/ 48 h 79"/>
                  <a:gd name="T36" fmla="*/ 30 w 30"/>
                  <a:gd name="T37" fmla="*/ 45 h 79"/>
                  <a:gd name="T38" fmla="*/ 30 w 30"/>
                  <a:gd name="T39" fmla="*/ 24 h 79"/>
                  <a:gd name="T40" fmla="*/ 26 w 30"/>
                  <a:gd name="T41" fmla="*/ 20 h 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30" h="79">
                    <a:moveTo>
                      <a:pt x="7" y="8"/>
                    </a:moveTo>
                    <a:cubicBezTo>
                      <a:pt x="7" y="2"/>
                      <a:pt x="9" y="0"/>
                      <a:pt x="15" y="0"/>
                    </a:cubicBezTo>
                    <a:cubicBezTo>
                      <a:pt x="21" y="0"/>
                      <a:pt x="23" y="2"/>
                      <a:pt x="23" y="8"/>
                    </a:cubicBezTo>
                    <a:cubicBezTo>
                      <a:pt x="23" y="14"/>
                      <a:pt x="21" y="16"/>
                      <a:pt x="15" y="16"/>
                    </a:cubicBezTo>
                    <a:cubicBezTo>
                      <a:pt x="9" y="16"/>
                      <a:pt x="7" y="14"/>
                      <a:pt x="7" y="8"/>
                    </a:cubicBezTo>
                    <a:close/>
                    <a:moveTo>
                      <a:pt x="26" y="20"/>
                    </a:moveTo>
                    <a:cubicBezTo>
                      <a:pt x="4" y="20"/>
                      <a:pt x="4" y="20"/>
                      <a:pt x="4" y="20"/>
                    </a:cubicBezTo>
                    <a:cubicBezTo>
                      <a:pt x="2" y="20"/>
                      <a:pt x="0" y="22"/>
                      <a:pt x="0" y="24"/>
                    </a:cubicBezTo>
                    <a:cubicBezTo>
                      <a:pt x="0" y="45"/>
                      <a:pt x="0" y="45"/>
                      <a:pt x="0" y="45"/>
                    </a:cubicBezTo>
                    <a:cubicBezTo>
                      <a:pt x="0" y="47"/>
                      <a:pt x="2" y="48"/>
                      <a:pt x="4" y="48"/>
                    </a:cubicBezTo>
                    <a:cubicBezTo>
                      <a:pt x="7" y="48"/>
                      <a:pt x="7" y="48"/>
                      <a:pt x="7" y="48"/>
                    </a:cubicBezTo>
                    <a:cubicBezTo>
                      <a:pt x="7" y="55"/>
                      <a:pt x="8" y="74"/>
                      <a:pt x="9" y="78"/>
                    </a:cubicBezTo>
                    <a:cubicBezTo>
                      <a:pt x="9" y="78"/>
                      <a:pt x="10" y="79"/>
                      <a:pt x="11" y="79"/>
                    </a:cubicBezTo>
                    <a:cubicBezTo>
                      <a:pt x="20" y="79"/>
                      <a:pt x="20" y="79"/>
                      <a:pt x="20" y="79"/>
                    </a:cubicBezTo>
                    <a:cubicBezTo>
                      <a:pt x="21" y="79"/>
                      <a:pt x="22" y="78"/>
                      <a:pt x="22" y="78"/>
                    </a:cubicBezTo>
                    <a:cubicBezTo>
                      <a:pt x="22" y="78"/>
                      <a:pt x="22" y="78"/>
                      <a:pt x="22" y="78"/>
                    </a:cubicBezTo>
                    <a:cubicBezTo>
                      <a:pt x="23" y="74"/>
                      <a:pt x="24" y="55"/>
                      <a:pt x="24" y="48"/>
                    </a:cubicBezTo>
                    <a:cubicBezTo>
                      <a:pt x="26" y="48"/>
                      <a:pt x="26" y="48"/>
                      <a:pt x="26" y="48"/>
                    </a:cubicBezTo>
                    <a:cubicBezTo>
                      <a:pt x="29" y="48"/>
                      <a:pt x="30" y="47"/>
                      <a:pt x="30" y="45"/>
                    </a:cubicBezTo>
                    <a:cubicBezTo>
                      <a:pt x="30" y="24"/>
                      <a:pt x="30" y="24"/>
                      <a:pt x="30" y="24"/>
                    </a:cubicBezTo>
                    <a:cubicBezTo>
                      <a:pt x="30" y="22"/>
                      <a:pt x="29" y="20"/>
                      <a:pt x="26" y="20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01506" tIns="50752" rIns="101506" bIns="50752" numCol="1" anchor="t" anchorCtr="0" compatLnSpc="1">
                <a:prstTxWarp prst="textNoShape">
                  <a:avLst/>
                </a:prstTxWarp>
              </a:bodyPr>
              <a:lstStyle/>
              <a:p>
                <a:pPr defTabSz="504442"/>
                <a:endParaRPr lang="en-US" sz="1998">
                  <a:solidFill>
                    <a:prstClr val="black"/>
                  </a:solidFill>
                  <a:latin typeface="Ebrima" panose="02000000000000000000" pitchFamily="2" charset="0"/>
                  <a:ea typeface="Ebrima" panose="02000000000000000000" pitchFamily="2" charset="0"/>
                  <a:cs typeface="Ebrima" panose="02000000000000000000" pitchFamily="2" charset="0"/>
                </a:endParaRPr>
              </a:p>
            </p:txBody>
          </p:sp>
        </p:grpSp>
        <p:sp>
          <p:nvSpPr>
            <p:cNvPr id="13" name="Rounded Rectangle 400">
              <a:extLst>
                <a:ext uri="{FF2B5EF4-FFF2-40B4-BE49-F238E27FC236}">
                  <a16:creationId xmlns:a16="http://schemas.microsoft.com/office/drawing/2014/main" id="{D9C77A60-AFC4-4AB5-AC6A-9AAF1B6B99F6}"/>
                </a:ext>
              </a:extLst>
            </p:cNvPr>
            <p:cNvSpPr/>
            <p:nvPr/>
          </p:nvSpPr>
          <p:spPr>
            <a:xfrm>
              <a:off x="6975668" y="3864696"/>
              <a:ext cx="500670" cy="442752"/>
            </a:xfrm>
            <a:prstGeom prst="roundRect">
              <a:avLst>
                <a:gd name="adj" fmla="val 10785"/>
              </a:avLst>
            </a:prstGeom>
            <a:solidFill>
              <a:srgbClr val="666666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504442"/>
              <a:endParaRPr lang="en-US" sz="1998">
                <a:solidFill>
                  <a:prstClr val="white"/>
                </a:solidFill>
                <a:latin typeface="Ebrima" panose="02000000000000000000" pitchFamily="2" charset="0"/>
                <a:ea typeface="Ebrima" panose="02000000000000000000" pitchFamily="2" charset="0"/>
                <a:cs typeface="Ebrima" panose="02000000000000000000" pitchFamily="2" charset="0"/>
              </a:endParaRPr>
            </a:p>
          </p:txBody>
        </p:sp>
        <p:sp>
          <p:nvSpPr>
            <p:cNvPr id="14" name="Rounded Rectangle 401">
              <a:extLst>
                <a:ext uri="{FF2B5EF4-FFF2-40B4-BE49-F238E27FC236}">
                  <a16:creationId xmlns:a16="http://schemas.microsoft.com/office/drawing/2014/main" id="{FFBA5A85-C82D-40BB-A9B7-1FBE9A53A372}"/>
                </a:ext>
              </a:extLst>
            </p:cNvPr>
            <p:cNvSpPr/>
            <p:nvPr/>
          </p:nvSpPr>
          <p:spPr>
            <a:xfrm>
              <a:off x="7019113" y="3919750"/>
              <a:ext cx="413776" cy="332646"/>
            </a:xfrm>
            <a:prstGeom prst="roundRect">
              <a:avLst>
                <a:gd name="adj" fmla="val 6040"/>
              </a:avLst>
            </a:prstGeom>
            <a:solidFill>
              <a:schemeClr val="bg1">
                <a:lumMod val="85000"/>
              </a:schemeClr>
            </a:solidFill>
            <a:ln w="19050" cmpd="sng">
              <a:solidFill>
                <a:srgbClr val="FFFFFF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504442"/>
              <a:endParaRPr lang="en-US" sz="1998">
                <a:solidFill>
                  <a:prstClr val="white"/>
                </a:solidFill>
                <a:latin typeface="Ebrima" panose="02000000000000000000" pitchFamily="2" charset="0"/>
                <a:ea typeface="Ebrima" panose="02000000000000000000" pitchFamily="2" charset="0"/>
                <a:cs typeface="Ebrima" panose="02000000000000000000" pitchFamily="2" charset="0"/>
              </a:endParaRPr>
            </a:p>
          </p:txBody>
        </p:sp>
        <p:sp>
          <p:nvSpPr>
            <p:cNvPr id="15" name="Rounded Rectangle 402">
              <a:extLst>
                <a:ext uri="{FF2B5EF4-FFF2-40B4-BE49-F238E27FC236}">
                  <a16:creationId xmlns:a16="http://schemas.microsoft.com/office/drawing/2014/main" id="{210CD9FA-B56C-4918-A1F9-E6F8FD90F174}"/>
                </a:ext>
              </a:extLst>
            </p:cNvPr>
            <p:cNvSpPr/>
            <p:nvPr/>
          </p:nvSpPr>
          <p:spPr>
            <a:xfrm>
              <a:off x="7105943" y="4332260"/>
              <a:ext cx="247324" cy="33392"/>
            </a:xfrm>
            <a:prstGeom prst="roundRect">
              <a:avLst>
                <a:gd name="adj" fmla="val 50000"/>
              </a:avLst>
            </a:prstGeom>
            <a:solidFill>
              <a:srgbClr val="666666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504442"/>
              <a:endParaRPr lang="en-US" sz="1998">
                <a:solidFill>
                  <a:prstClr val="white"/>
                </a:solidFill>
                <a:latin typeface="Ebrima" panose="02000000000000000000" pitchFamily="2" charset="0"/>
                <a:ea typeface="Ebrima" panose="02000000000000000000" pitchFamily="2" charset="0"/>
                <a:cs typeface="Ebrima" panose="02000000000000000000" pitchFamily="2" charset="0"/>
              </a:endParaRPr>
            </a:p>
          </p:txBody>
        </p:sp>
        <p:grpSp>
          <p:nvGrpSpPr>
            <p:cNvPr id="16" name="Group 407">
              <a:extLst>
                <a:ext uri="{FF2B5EF4-FFF2-40B4-BE49-F238E27FC236}">
                  <a16:creationId xmlns:a16="http://schemas.microsoft.com/office/drawing/2014/main" id="{799E9AF1-D4F3-4A5E-A957-576980A58792}"/>
                </a:ext>
              </a:extLst>
            </p:cNvPr>
            <p:cNvGrpSpPr/>
            <p:nvPr>
              <p:custDataLst>
                <p:tags r:id="rId11"/>
              </p:custDataLst>
            </p:nvPr>
          </p:nvGrpSpPr>
          <p:grpSpPr>
            <a:xfrm>
              <a:off x="2614519" y="1960239"/>
              <a:ext cx="276193" cy="467393"/>
              <a:chOff x="7713918" y="1670381"/>
              <a:chExt cx="207766" cy="351597"/>
            </a:xfrm>
          </p:grpSpPr>
          <p:sp>
            <p:nvSpPr>
              <p:cNvPr id="122" name="Rounded Rectangle 408">
                <a:extLst>
                  <a:ext uri="{FF2B5EF4-FFF2-40B4-BE49-F238E27FC236}">
                    <a16:creationId xmlns:a16="http://schemas.microsoft.com/office/drawing/2014/main" id="{C651B986-5F60-49C6-8627-2EA7C3AE346B}"/>
                  </a:ext>
                </a:extLst>
              </p:cNvPr>
              <p:cNvSpPr/>
              <p:nvPr/>
            </p:nvSpPr>
            <p:spPr>
              <a:xfrm>
                <a:off x="7713918" y="1670381"/>
                <a:ext cx="207766" cy="351597"/>
              </a:xfrm>
              <a:prstGeom prst="roundRect">
                <a:avLst>
                  <a:gd name="adj" fmla="val 9910"/>
                </a:avLst>
              </a:prstGeom>
              <a:solidFill>
                <a:schemeClr val="tx1"/>
              </a:solidFill>
              <a:ln w="38100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504442"/>
                <a:endParaRPr lang="en-US" sz="1998">
                  <a:solidFill>
                    <a:prstClr val="white"/>
                  </a:solidFill>
                  <a:latin typeface="Ebrima" panose="02000000000000000000" pitchFamily="2" charset="0"/>
                  <a:ea typeface="Ebrima" panose="02000000000000000000" pitchFamily="2" charset="0"/>
                  <a:cs typeface="Ebrima" panose="02000000000000000000" pitchFamily="2" charset="0"/>
                </a:endParaRPr>
              </a:p>
            </p:txBody>
          </p:sp>
          <p:sp>
            <p:nvSpPr>
              <p:cNvPr id="123" name="Rounded Rectangle 409">
                <a:extLst>
                  <a:ext uri="{FF2B5EF4-FFF2-40B4-BE49-F238E27FC236}">
                    <a16:creationId xmlns:a16="http://schemas.microsoft.com/office/drawing/2014/main" id="{1D979FD7-463A-4268-9A95-5704B6639812}"/>
                  </a:ext>
                </a:extLst>
              </p:cNvPr>
              <p:cNvSpPr/>
              <p:nvPr/>
            </p:nvSpPr>
            <p:spPr>
              <a:xfrm>
                <a:off x="7779618" y="1730215"/>
                <a:ext cx="76370" cy="18568"/>
              </a:xfrm>
              <a:prstGeom prst="roundRect">
                <a:avLst>
                  <a:gd name="adj" fmla="val 50000"/>
                </a:avLst>
              </a:prstGeom>
              <a:solidFill>
                <a:srgbClr val="FFFFFF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504442"/>
                <a:endParaRPr lang="en-US" sz="1998">
                  <a:solidFill>
                    <a:prstClr val="white"/>
                  </a:solidFill>
                  <a:latin typeface="Ebrima" panose="02000000000000000000" pitchFamily="2" charset="0"/>
                  <a:ea typeface="Ebrima" panose="02000000000000000000" pitchFamily="2" charset="0"/>
                  <a:cs typeface="Ebrima" panose="02000000000000000000" pitchFamily="2" charset="0"/>
                </a:endParaRPr>
              </a:p>
            </p:txBody>
          </p:sp>
          <p:sp>
            <p:nvSpPr>
              <p:cNvPr id="124" name="Rounded Rectangle 410">
                <a:extLst>
                  <a:ext uri="{FF2B5EF4-FFF2-40B4-BE49-F238E27FC236}">
                    <a16:creationId xmlns:a16="http://schemas.microsoft.com/office/drawing/2014/main" id="{4599800B-3C89-4D83-812A-FAC2BAC1D7F9}"/>
                  </a:ext>
                </a:extLst>
              </p:cNvPr>
              <p:cNvSpPr/>
              <p:nvPr/>
            </p:nvSpPr>
            <p:spPr>
              <a:xfrm>
                <a:off x="7739761" y="1700893"/>
                <a:ext cx="156097" cy="290576"/>
              </a:xfrm>
              <a:prstGeom prst="roundRect">
                <a:avLst>
                  <a:gd name="adj" fmla="val 9910"/>
                </a:avLst>
              </a:prstGeom>
              <a:noFill/>
              <a:ln w="12700" cmpd="sng">
                <a:solidFill>
                  <a:srgbClr val="FFFFFF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504442"/>
                <a:endParaRPr lang="en-US" sz="1998">
                  <a:solidFill>
                    <a:prstClr val="white"/>
                  </a:solidFill>
                  <a:latin typeface="Ebrima" panose="02000000000000000000" pitchFamily="2" charset="0"/>
                  <a:ea typeface="Ebrima" panose="02000000000000000000" pitchFamily="2" charset="0"/>
                  <a:cs typeface="Ebrima" panose="02000000000000000000" pitchFamily="2" charset="0"/>
                </a:endParaRPr>
              </a:p>
            </p:txBody>
          </p:sp>
        </p:grpSp>
        <p:grpSp>
          <p:nvGrpSpPr>
            <p:cNvPr id="17" name="Group 414">
              <a:extLst>
                <a:ext uri="{FF2B5EF4-FFF2-40B4-BE49-F238E27FC236}">
                  <a16:creationId xmlns:a16="http://schemas.microsoft.com/office/drawing/2014/main" id="{E27A796F-ADAD-42F0-977B-DB641C350ECF}"/>
                </a:ext>
              </a:extLst>
            </p:cNvPr>
            <p:cNvGrpSpPr/>
            <p:nvPr>
              <p:custDataLst>
                <p:tags r:id="rId12"/>
              </p:custDataLst>
            </p:nvPr>
          </p:nvGrpSpPr>
          <p:grpSpPr>
            <a:xfrm>
              <a:off x="1670287" y="3334509"/>
              <a:ext cx="744489" cy="732697"/>
              <a:chOff x="5272388" y="2031369"/>
              <a:chExt cx="1283395" cy="1263071"/>
            </a:xfrm>
          </p:grpSpPr>
          <p:sp>
            <p:nvSpPr>
              <p:cNvPr id="111" name="Oval 415">
                <a:extLst>
                  <a:ext uri="{FF2B5EF4-FFF2-40B4-BE49-F238E27FC236}">
                    <a16:creationId xmlns:a16="http://schemas.microsoft.com/office/drawing/2014/main" id="{CF2B96DB-7ED4-43E6-8CE9-FF8D661F540B}"/>
                  </a:ext>
                </a:extLst>
              </p:cNvPr>
              <p:cNvSpPr/>
              <p:nvPr/>
            </p:nvSpPr>
            <p:spPr>
              <a:xfrm>
                <a:off x="5363687" y="2112522"/>
                <a:ext cx="1100761" cy="1100767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504442"/>
                <a:endParaRPr lang="en-US" sz="1998">
                  <a:solidFill>
                    <a:prstClr val="white"/>
                  </a:solidFill>
                  <a:latin typeface="Ebrima" panose="02000000000000000000" pitchFamily="2" charset="0"/>
                  <a:ea typeface="Ebrima" panose="02000000000000000000" pitchFamily="2" charset="0"/>
                  <a:cs typeface="Ebrima" panose="02000000000000000000" pitchFamily="2" charset="0"/>
                </a:endParaRPr>
              </a:p>
            </p:txBody>
          </p:sp>
          <p:sp>
            <p:nvSpPr>
              <p:cNvPr id="112" name="Oval 416">
                <a:extLst>
                  <a:ext uri="{FF2B5EF4-FFF2-40B4-BE49-F238E27FC236}">
                    <a16:creationId xmlns:a16="http://schemas.microsoft.com/office/drawing/2014/main" id="{1DD721F3-26EE-402C-8155-49D9FB49085F}"/>
                  </a:ext>
                </a:extLst>
              </p:cNvPr>
              <p:cNvSpPr/>
              <p:nvPr/>
            </p:nvSpPr>
            <p:spPr>
              <a:xfrm>
                <a:off x="5631635" y="2380472"/>
                <a:ext cx="564864" cy="564868"/>
              </a:xfrm>
              <a:prstGeom prst="ellipse">
                <a:avLst/>
              </a:prstGeom>
              <a:solidFill>
                <a:srgbClr val="E21C23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504442"/>
                <a:endParaRPr lang="en-US" sz="1998">
                  <a:solidFill>
                    <a:prstClr val="white"/>
                  </a:solidFill>
                  <a:latin typeface="Ebrima" panose="02000000000000000000" pitchFamily="2" charset="0"/>
                  <a:ea typeface="Ebrima" panose="02000000000000000000" pitchFamily="2" charset="0"/>
                  <a:cs typeface="Ebrima" panose="02000000000000000000" pitchFamily="2" charset="0"/>
                </a:endParaRPr>
              </a:p>
            </p:txBody>
          </p:sp>
          <p:grpSp>
            <p:nvGrpSpPr>
              <p:cNvPr id="113" name="Group 417">
                <a:extLst>
                  <a:ext uri="{FF2B5EF4-FFF2-40B4-BE49-F238E27FC236}">
                    <a16:creationId xmlns:a16="http://schemas.microsoft.com/office/drawing/2014/main" id="{71ACF4CC-8F45-4D62-978B-1B6ACA8BD336}"/>
                  </a:ext>
                </a:extLst>
              </p:cNvPr>
              <p:cNvGrpSpPr/>
              <p:nvPr/>
            </p:nvGrpSpPr>
            <p:grpSpPr>
              <a:xfrm>
                <a:off x="5722278" y="2031369"/>
                <a:ext cx="383612" cy="1263071"/>
                <a:chOff x="3411942" y="4006410"/>
                <a:chExt cx="119840" cy="394580"/>
              </a:xfrm>
            </p:grpSpPr>
            <p:sp>
              <p:nvSpPr>
                <p:cNvPr id="120" name="Trapezoid 424">
                  <a:extLst>
                    <a:ext uri="{FF2B5EF4-FFF2-40B4-BE49-F238E27FC236}">
                      <a16:creationId xmlns:a16="http://schemas.microsoft.com/office/drawing/2014/main" id="{5C0EB7F8-3F62-49BD-9B8C-AE47F7A872F4}"/>
                    </a:ext>
                  </a:extLst>
                </p:cNvPr>
                <p:cNvSpPr/>
                <p:nvPr/>
              </p:nvSpPr>
              <p:spPr>
                <a:xfrm>
                  <a:off x="3411942" y="4006410"/>
                  <a:ext cx="119840" cy="61205"/>
                </a:xfrm>
                <a:prstGeom prst="trapezoid">
                  <a:avLst/>
                </a:prstGeom>
                <a:solidFill>
                  <a:schemeClr val="bg2"/>
                </a:solidFill>
                <a:ln w="19050" cap="rnd" cmpd="sng">
                  <a:solidFill>
                    <a:schemeClr val="accent5"/>
                  </a:solidFill>
                  <a:round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504442"/>
                  <a:endParaRPr lang="en-US" sz="1998">
                    <a:solidFill>
                      <a:prstClr val="white"/>
                    </a:solidFill>
                    <a:latin typeface="Ebrima" panose="02000000000000000000" pitchFamily="2" charset="0"/>
                    <a:ea typeface="Ebrima" panose="02000000000000000000" pitchFamily="2" charset="0"/>
                    <a:cs typeface="Ebrima" panose="02000000000000000000" pitchFamily="2" charset="0"/>
                  </a:endParaRPr>
                </a:p>
              </p:txBody>
            </p:sp>
            <p:sp>
              <p:nvSpPr>
                <p:cNvPr id="121" name="Trapezoid 425">
                  <a:extLst>
                    <a:ext uri="{FF2B5EF4-FFF2-40B4-BE49-F238E27FC236}">
                      <a16:creationId xmlns:a16="http://schemas.microsoft.com/office/drawing/2014/main" id="{BEDBD3E8-CD14-49E5-8CF2-5A3D5DDFA9FB}"/>
                    </a:ext>
                  </a:extLst>
                </p:cNvPr>
                <p:cNvSpPr/>
                <p:nvPr/>
              </p:nvSpPr>
              <p:spPr>
                <a:xfrm flipV="1">
                  <a:off x="3411942" y="4339785"/>
                  <a:ext cx="119840" cy="61205"/>
                </a:xfrm>
                <a:prstGeom prst="trapezoid">
                  <a:avLst/>
                </a:prstGeom>
                <a:solidFill>
                  <a:schemeClr val="bg2"/>
                </a:solidFill>
                <a:ln w="19050" cap="rnd" cmpd="sng">
                  <a:solidFill>
                    <a:schemeClr val="accent5"/>
                  </a:solidFill>
                  <a:round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504442"/>
                  <a:endParaRPr lang="en-US" sz="1998">
                    <a:solidFill>
                      <a:prstClr val="white"/>
                    </a:solidFill>
                    <a:latin typeface="Ebrima" panose="02000000000000000000" pitchFamily="2" charset="0"/>
                    <a:ea typeface="Ebrima" panose="02000000000000000000" pitchFamily="2" charset="0"/>
                    <a:cs typeface="Ebrima" panose="02000000000000000000" pitchFamily="2" charset="0"/>
                  </a:endParaRPr>
                </a:p>
              </p:txBody>
            </p:sp>
          </p:grpSp>
          <p:grpSp>
            <p:nvGrpSpPr>
              <p:cNvPr id="114" name="Group 418">
                <a:extLst>
                  <a:ext uri="{FF2B5EF4-FFF2-40B4-BE49-F238E27FC236}">
                    <a16:creationId xmlns:a16="http://schemas.microsoft.com/office/drawing/2014/main" id="{F4BCB395-4A3A-4F07-900F-7844DC537FF9}"/>
                  </a:ext>
                </a:extLst>
              </p:cNvPr>
              <p:cNvGrpSpPr/>
              <p:nvPr/>
            </p:nvGrpSpPr>
            <p:grpSpPr>
              <a:xfrm rot="1800000">
                <a:off x="5272388" y="2471094"/>
                <a:ext cx="1283395" cy="383617"/>
                <a:chOff x="3266635" y="4142194"/>
                <a:chExt cx="400931" cy="119841"/>
              </a:xfrm>
            </p:grpSpPr>
            <p:sp>
              <p:nvSpPr>
                <p:cNvPr id="118" name="Trapezoid 422">
                  <a:extLst>
                    <a:ext uri="{FF2B5EF4-FFF2-40B4-BE49-F238E27FC236}">
                      <a16:creationId xmlns:a16="http://schemas.microsoft.com/office/drawing/2014/main" id="{6C044CD1-FF5F-43D5-A6FA-BAA266CCA671}"/>
                    </a:ext>
                  </a:extLst>
                </p:cNvPr>
                <p:cNvSpPr/>
                <p:nvPr/>
              </p:nvSpPr>
              <p:spPr>
                <a:xfrm rot="5400000" flipV="1">
                  <a:off x="3237318" y="4171511"/>
                  <a:ext cx="119840" cy="61205"/>
                </a:xfrm>
                <a:prstGeom prst="trapezoid">
                  <a:avLst/>
                </a:prstGeom>
                <a:solidFill>
                  <a:schemeClr val="bg2"/>
                </a:solidFill>
                <a:ln w="19050" cap="rnd" cmpd="sng">
                  <a:solidFill>
                    <a:schemeClr val="accent5"/>
                  </a:solidFill>
                  <a:round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504442"/>
                  <a:endParaRPr lang="en-US" sz="1998">
                    <a:solidFill>
                      <a:prstClr val="white"/>
                    </a:solidFill>
                    <a:latin typeface="Ebrima" panose="02000000000000000000" pitchFamily="2" charset="0"/>
                    <a:ea typeface="Ebrima" panose="02000000000000000000" pitchFamily="2" charset="0"/>
                    <a:cs typeface="Ebrima" panose="02000000000000000000" pitchFamily="2" charset="0"/>
                  </a:endParaRPr>
                </a:p>
              </p:txBody>
            </p:sp>
            <p:sp>
              <p:nvSpPr>
                <p:cNvPr id="119" name="Trapezoid 423">
                  <a:extLst>
                    <a:ext uri="{FF2B5EF4-FFF2-40B4-BE49-F238E27FC236}">
                      <a16:creationId xmlns:a16="http://schemas.microsoft.com/office/drawing/2014/main" id="{A20230F1-0B7C-4EC8-ADF0-00A38BBE4FB4}"/>
                    </a:ext>
                  </a:extLst>
                </p:cNvPr>
                <p:cNvSpPr/>
                <p:nvPr/>
              </p:nvSpPr>
              <p:spPr>
                <a:xfrm rot="16200000" flipH="1" flipV="1">
                  <a:off x="3577044" y="4171512"/>
                  <a:ext cx="119840" cy="61205"/>
                </a:xfrm>
                <a:prstGeom prst="trapezoid">
                  <a:avLst/>
                </a:prstGeom>
                <a:solidFill>
                  <a:schemeClr val="bg2"/>
                </a:solidFill>
                <a:ln w="19050" cap="rnd" cmpd="sng">
                  <a:solidFill>
                    <a:schemeClr val="accent5"/>
                  </a:solidFill>
                  <a:round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504442"/>
                  <a:endParaRPr lang="en-US" sz="1998">
                    <a:solidFill>
                      <a:prstClr val="white"/>
                    </a:solidFill>
                    <a:latin typeface="Ebrima" panose="02000000000000000000" pitchFamily="2" charset="0"/>
                    <a:ea typeface="Ebrima" panose="02000000000000000000" pitchFamily="2" charset="0"/>
                    <a:cs typeface="Ebrima" panose="02000000000000000000" pitchFamily="2" charset="0"/>
                  </a:endParaRPr>
                </a:p>
              </p:txBody>
            </p:sp>
          </p:grpSp>
          <p:grpSp>
            <p:nvGrpSpPr>
              <p:cNvPr id="115" name="Group 419">
                <a:extLst>
                  <a:ext uri="{FF2B5EF4-FFF2-40B4-BE49-F238E27FC236}">
                    <a16:creationId xmlns:a16="http://schemas.microsoft.com/office/drawing/2014/main" id="{4B836711-686B-4E56-9972-07D6C2386E55}"/>
                  </a:ext>
                </a:extLst>
              </p:cNvPr>
              <p:cNvGrpSpPr/>
              <p:nvPr/>
            </p:nvGrpSpPr>
            <p:grpSpPr>
              <a:xfrm rot="19800000" flipH="1">
                <a:off x="5272388" y="2471081"/>
                <a:ext cx="1283395" cy="383617"/>
                <a:chOff x="3266635" y="4142194"/>
                <a:chExt cx="400931" cy="119841"/>
              </a:xfrm>
            </p:grpSpPr>
            <p:sp>
              <p:nvSpPr>
                <p:cNvPr id="116" name="Trapezoid 420">
                  <a:extLst>
                    <a:ext uri="{FF2B5EF4-FFF2-40B4-BE49-F238E27FC236}">
                      <a16:creationId xmlns:a16="http://schemas.microsoft.com/office/drawing/2014/main" id="{542B5075-C7E0-4552-AB43-F81D6A17EA6C}"/>
                    </a:ext>
                  </a:extLst>
                </p:cNvPr>
                <p:cNvSpPr/>
                <p:nvPr/>
              </p:nvSpPr>
              <p:spPr>
                <a:xfrm rot="5400000" flipV="1">
                  <a:off x="3237318" y="4171511"/>
                  <a:ext cx="119840" cy="61205"/>
                </a:xfrm>
                <a:prstGeom prst="trapezoid">
                  <a:avLst/>
                </a:prstGeom>
                <a:solidFill>
                  <a:schemeClr val="bg2"/>
                </a:solidFill>
                <a:ln w="19050" cap="rnd" cmpd="sng">
                  <a:solidFill>
                    <a:schemeClr val="accent5"/>
                  </a:solidFill>
                  <a:round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504442"/>
                  <a:endParaRPr lang="en-US" sz="1998">
                    <a:solidFill>
                      <a:prstClr val="white"/>
                    </a:solidFill>
                    <a:latin typeface="Ebrima" panose="02000000000000000000" pitchFamily="2" charset="0"/>
                    <a:ea typeface="Ebrima" panose="02000000000000000000" pitchFamily="2" charset="0"/>
                    <a:cs typeface="Ebrima" panose="02000000000000000000" pitchFamily="2" charset="0"/>
                  </a:endParaRPr>
                </a:p>
              </p:txBody>
            </p:sp>
            <p:sp>
              <p:nvSpPr>
                <p:cNvPr id="117" name="Trapezoid 421">
                  <a:extLst>
                    <a:ext uri="{FF2B5EF4-FFF2-40B4-BE49-F238E27FC236}">
                      <a16:creationId xmlns:a16="http://schemas.microsoft.com/office/drawing/2014/main" id="{158EFCE7-91BB-468E-8F88-2A3AE3500BFB}"/>
                    </a:ext>
                  </a:extLst>
                </p:cNvPr>
                <p:cNvSpPr/>
                <p:nvPr/>
              </p:nvSpPr>
              <p:spPr>
                <a:xfrm rot="16200000" flipH="1" flipV="1">
                  <a:off x="3577044" y="4171512"/>
                  <a:ext cx="119840" cy="61205"/>
                </a:xfrm>
                <a:prstGeom prst="trapezoid">
                  <a:avLst/>
                </a:prstGeom>
                <a:solidFill>
                  <a:schemeClr val="bg2"/>
                </a:solidFill>
                <a:ln w="19050" cap="rnd" cmpd="sng">
                  <a:solidFill>
                    <a:schemeClr val="accent5"/>
                  </a:solidFill>
                  <a:round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504442"/>
                  <a:endParaRPr lang="en-US" sz="1998">
                    <a:solidFill>
                      <a:prstClr val="white"/>
                    </a:solidFill>
                    <a:latin typeface="Ebrima" panose="02000000000000000000" pitchFamily="2" charset="0"/>
                    <a:ea typeface="Ebrima" panose="02000000000000000000" pitchFamily="2" charset="0"/>
                    <a:cs typeface="Ebrima" panose="02000000000000000000" pitchFamily="2" charset="0"/>
                  </a:endParaRPr>
                </a:p>
              </p:txBody>
            </p:sp>
          </p:grpSp>
        </p:grpSp>
        <p:grpSp>
          <p:nvGrpSpPr>
            <p:cNvPr id="18" name="Group 426">
              <a:extLst>
                <a:ext uri="{FF2B5EF4-FFF2-40B4-BE49-F238E27FC236}">
                  <a16:creationId xmlns:a16="http://schemas.microsoft.com/office/drawing/2014/main" id="{3A6458FE-42CB-4508-BC0C-FD8AE2A43B1F}"/>
                </a:ext>
              </a:extLst>
            </p:cNvPr>
            <p:cNvGrpSpPr/>
            <p:nvPr>
              <p:custDataLst>
                <p:tags r:id="rId13"/>
              </p:custDataLst>
            </p:nvPr>
          </p:nvGrpSpPr>
          <p:grpSpPr>
            <a:xfrm>
              <a:off x="7114635" y="2919599"/>
              <a:ext cx="649520" cy="788165"/>
              <a:chOff x="7811582" y="557102"/>
              <a:chExt cx="1270422" cy="1689759"/>
            </a:xfrm>
          </p:grpSpPr>
          <p:sp>
            <p:nvSpPr>
              <p:cNvPr id="105" name="Rounded Rectangle 427">
                <a:extLst>
                  <a:ext uri="{FF2B5EF4-FFF2-40B4-BE49-F238E27FC236}">
                    <a16:creationId xmlns:a16="http://schemas.microsoft.com/office/drawing/2014/main" id="{AAE261C1-D3EF-4963-8BA1-FA4407A2F6A1}"/>
                  </a:ext>
                </a:extLst>
              </p:cNvPr>
              <p:cNvSpPr/>
              <p:nvPr/>
            </p:nvSpPr>
            <p:spPr>
              <a:xfrm>
                <a:off x="7811582" y="1323556"/>
                <a:ext cx="1270422" cy="860945"/>
              </a:xfrm>
              <a:prstGeom prst="roundRect">
                <a:avLst/>
              </a:prstGeom>
              <a:solidFill>
                <a:schemeClr val="accent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504442"/>
                <a:endParaRPr lang="en-US" sz="1998">
                  <a:solidFill>
                    <a:prstClr val="white"/>
                  </a:solidFill>
                  <a:latin typeface="Ebrima" panose="02000000000000000000" pitchFamily="2" charset="0"/>
                  <a:ea typeface="Ebrima" panose="02000000000000000000" pitchFamily="2" charset="0"/>
                  <a:cs typeface="Ebrima" panose="02000000000000000000" pitchFamily="2" charset="0"/>
                </a:endParaRPr>
              </a:p>
            </p:txBody>
          </p:sp>
          <p:sp>
            <p:nvSpPr>
              <p:cNvPr id="106" name="Isosceles Triangle 428">
                <a:extLst>
                  <a:ext uri="{FF2B5EF4-FFF2-40B4-BE49-F238E27FC236}">
                    <a16:creationId xmlns:a16="http://schemas.microsoft.com/office/drawing/2014/main" id="{C79C75D2-FCA8-4DDB-ACD4-80D69BC64341}"/>
                  </a:ext>
                </a:extLst>
              </p:cNvPr>
              <p:cNvSpPr/>
              <p:nvPr/>
            </p:nvSpPr>
            <p:spPr>
              <a:xfrm rot="10800000">
                <a:off x="8207038" y="1334048"/>
                <a:ext cx="479518" cy="912813"/>
              </a:xfrm>
              <a:prstGeom prst="triangle">
                <a:avLst/>
              </a:prstGeom>
              <a:solidFill>
                <a:schemeClr val="accent6"/>
              </a:solidFill>
              <a:ln w="28575" cap="rnd" cmpd="sng">
                <a:solidFill>
                  <a:schemeClr val="accent6"/>
                </a:solidFill>
                <a:round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504442"/>
                <a:endParaRPr lang="en-US" sz="1998">
                  <a:solidFill>
                    <a:prstClr val="white"/>
                  </a:solidFill>
                  <a:latin typeface="Ebrima" panose="02000000000000000000" pitchFamily="2" charset="0"/>
                  <a:ea typeface="Ebrima" panose="02000000000000000000" pitchFamily="2" charset="0"/>
                  <a:cs typeface="Ebrima" panose="02000000000000000000" pitchFamily="2" charset="0"/>
                </a:endParaRPr>
              </a:p>
            </p:txBody>
          </p:sp>
          <p:grpSp>
            <p:nvGrpSpPr>
              <p:cNvPr id="107" name="Group 429">
                <a:extLst>
                  <a:ext uri="{FF2B5EF4-FFF2-40B4-BE49-F238E27FC236}">
                    <a16:creationId xmlns:a16="http://schemas.microsoft.com/office/drawing/2014/main" id="{B865ACD9-EE51-4554-9A16-CACBE002EF6D}"/>
                  </a:ext>
                </a:extLst>
              </p:cNvPr>
              <p:cNvGrpSpPr/>
              <p:nvPr/>
            </p:nvGrpSpPr>
            <p:grpSpPr>
              <a:xfrm>
                <a:off x="8351241" y="1367954"/>
                <a:ext cx="191105" cy="404672"/>
                <a:chOff x="1962511" y="1247775"/>
                <a:chExt cx="241405" cy="511182"/>
              </a:xfrm>
            </p:grpSpPr>
            <p:sp>
              <p:nvSpPr>
                <p:cNvPr id="109" name="Isosceles Triangle 431">
                  <a:extLst>
                    <a:ext uri="{FF2B5EF4-FFF2-40B4-BE49-F238E27FC236}">
                      <a16:creationId xmlns:a16="http://schemas.microsoft.com/office/drawing/2014/main" id="{6A83C8A9-3DDA-4045-A294-4329374303EC}"/>
                    </a:ext>
                  </a:extLst>
                </p:cNvPr>
                <p:cNvSpPr/>
                <p:nvPr/>
              </p:nvSpPr>
              <p:spPr>
                <a:xfrm>
                  <a:off x="1962511" y="1247775"/>
                  <a:ext cx="241405" cy="161925"/>
                </a:xfrm>
                <a:prstGeom prst="triangle">
                  <a:avLst/>
                </a:prstGeom>
                <a:solidFill>
                  <a:schemeClr val="accent1"/>
                </a:solidFill>
                <a:ln w="28575" cap="rnd" cmpd="sng">
                  <a:solidFill>
                    <a:srgbClr val="0096D6"/>
                  </a:solidFill>
                  <a:round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504442"/>
                  <a:endParaRPr lang="en-US" sz="1998">
                    <a:solidFill>
                      <a:prstClr val="white"/>
                    </a:solidFill>
                    <a:latin typeface="Ebrima" panose="02000000000000000000" pitchFamily="2" charset="0"/>
                    <a:ea typeface="Ebrima" panose="02000000000000000000" pitchFamily="2" charset="0"/>
                    <a:cs typeface="Ebrima" panose="02000000000000000000" pitchFamily="2" charset="0"/>
                  </a:endParaRPr>
                </a:p>
              </p:txBody>
            </p:sp>
            <p:sp>
              <p:nvSpPr>
                <p:cNvPr id="110" name="Isosceles Triangle 432">
                  <a:extLst>
                    <a:ext uri="{FF2B5EF4-FFF2-40B4-BE49-F238E27FC236}">
                      <a16:creationId xmlns:a16="http://schemas.microsoft.com/office/drawing/2014/main" id="{FD98A44F-74D2-4C96-BC50-5806DCEA47C4}"/>
                    </a:ext>
                  </a:extLst>
                </p:cNvPr>
                <p:cNvSpPr/>
                <p:nvPr/>
              </p:nvSpPr>
              <p:spPr>
                <a:xfrm rot="10800000">
                  <a:off x="1966447" y="1416054"/>
                  <a:ext cx="233533" cy="342903"/>
                </a:xfrm>
                <a:prstGeom prst="triangle">
                  <a:avLst/>
                </a:prstGeom>
                <a:solidFill>
                  <a:schemeClr val="accent1"/>
                </a:solidFill>
                <a:ln w="28575" cap="rnd" cmpd="sng">
                  <a:solidFill>
                    <a:srgbClr val="0096D6"/>
                  </a:solidFill>
                  <a:round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504442"/>
                  <a:endParaRPr lang="en-US" sz="1998">
                    <a:solidFill>
                      <a:prstClr val="white"/>
                    </a:solidFill>
                    <a:latin typeface="Ebrima" panose="02000000000000000000" pitchFamily="2" charset="0"/>
                    <a:ea typeface="Ebrima" panose="02000000000000000000" pitchFamily="2" charset="0"/>
                    <a:cs typeface="Ebrima" panose="02000000000000000000" pitchFamily="2" charset="0"/>
                  </a:endParaRPr>
                </a:p>
              </p:txBody>
            </p:sp>
          </p:grpSp>
          <p:sp>
            <p:nvSpPr>
              <p:cNvPr id="108" name="Oval 430">
                <a:extLst>
                  <a:ext uri="{FF2B5EF4-FFF2-40B4-BE49-F238E27FC236}">
                    <a16:creationId xmlns:a16="http://schemas.microsoft.com/office/drawing/2014/main" id="{46F5B196-82A2-48CD-8771-C515B8711D83}"/>
                  </a:ext>
                </a:extLst>
              </p:cNvPr>
              <p:cNvSpPr/>
              <p:nvPr/>
            </p:nvSpPr>
            <p:spPr>
              <a:xfrm>
                <a:off x="8100316" y="557102"/>
                <a:ext cx="692956" cy="692956"/>
              </a:xfrm>
              <a:prstGeom prst="ellipse">
                <a:avLst/>
              </a:prstGeom>
              <a:solidFill>
                <a:schemeClr val="accent4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504442"/>
                <a:endParaRPr lang="en-US" sz="1998">
                  <a:solidFill>
                    <a:prstClr val="white"/>
                  </a:solidFill>
                  <a:latin typeface="Ebrima" panose="02000000000000000000" pitchFamily="2" charset="0"/>
                  <a:ea typeface="Ebrima" panose="02000000000000000000" pitchFamily="2" charset="0"/>
                  <a:cs typeface="Ebrima" panose="02000000000000000000" pitchFamily="2" charset="0"/>
                </a:endParaRPr>
              </a:p>
            </p:txBody>
          </p:sp>
        </p:grpSp>
        <p:sp>
          <p:nvSpPr>
            <p:cNvPr id="19" name="Freeform 8">
              <a:extLst>
                <a:ext uri="{FF2B5EF4-FFF2-40B4-BE49-F238E27FC236}">
                  <a16:creationId xmlns:a16="http://schemas.microsoft.com/office/drawing/2014/main" id="{D439AB59-A3DB-4E36-9292-00F13DD32E1C}"/>
                </a:ext>
              </a:extLst>
            </p:cNvPr>
            <p:cNvSpPr>
              <a:spLocks/>
            </p:cNvSpPr>
            <p:nvPr>
              <p:custDataLst>
                <p:tags r:id="rId14"/>
              </p:custDataLst>
            </p:nvPr>
          </p:nvSpPr>
          <p:spPr bwMode="auto">
            <a:xfrm rot="20558898">
              <a:off x="-630366" y="3923425"/>
              <a:ext cx="891295" cy="569226"/>
            </a:xfrm>
            <a:custGeom>
              <a:avLst/>
              <a:gdLst>
                <a:gd name="T0" fmla="*/ 39 w 286"/>
                <a:gd name="T1" fmla="*/ 160 h 201"/>
                <a:gd name="T2" fmla="*/ 12 w 286"/>
                <a:gd name="T3" fmla="*/ 154 h 201"/>
                <a:gd name="T4" fmla="*/ 29 w 286"/>
                <a:gd name="T5" fmla="*/ 141 h 201"/>
                <a:gd name="T6" fmla="*/ 54 w 286"/>
                <a:gd name="T7" fmla="*/ 90 h 201"/>
                <a:gd name="T8" fmla="*/ 94 w 286"/>
                <a:gd name="T9" fmla="*/ 101 h 201"/>
                <a:gd name="T10" fmla="*/ 116 w 286"/>
                <a:gd name="T11" fmla="*/ 123 h 201"/>
                <a:gd name="T12" fmla="*/ 138 w 286"/>
                <a:gd name="T13" fmla="*/ 142 h 201"/>
                <a:gd name="T14" fmla="*/ 150 w 286"/>
                <a:gd name="T15" fmla="*/ 149 h 201"/>
                <a:gd name="T16" fmla="*/ 175 w 286"/>
                <a:gd name="T17" fmla="*/ 175 h 201"/>
                <a:gd name="T18" fmla="*/ 191 w 286"/>
                <a:gd name="T19" fmla="*/ 167 h 201"/>
                <a:gd name="T20" fmla="*/ 179 w 286"/>
                <a:gd name="T21" fmla="*/ 120 h 201"/>
                <a:gd name="T22" fmla="*/ 214 w 286"/>
                <a:gd name="T23" fmla="*/ 164 h 201"/>
                <a:gd name="T24" fmla="*/ 191 w 286"/>
                <a:gd name="T25" fmla="*/ 108 h 201"/>
                <a:gd name="T26" fmla="*/ 229 w 286"/>
                <a:gd name="T27" fmla="*/ 148 h 201"/>
                <a:gd name="T28" fmla="*/ 239 w 286"/>
                <a:gd name="T29" fmla="*/ 144 h 201"/>
                <a:gd name="T30" fmla="*/ 105 w 286"/>
                <a:gd name="T31" fmla="*/ 49 h 201"/>
                <a:gd name="T32" fmla="*/ 12 w 286"/>
                <a:gd name="T33" fmla="*/ 56 h 201"/>
                <a:gd name="T34" fmla="*/ 50 w 286"/>
                <a:gd name="T35" fmla="*/ 45 h 201"/>
                <a:gd name="T36" fmla="*/ 97 w 286"/>
                <a:gd name="T37" fmla="*/ 0 h 201"/>
                <a:gd name="T38" fmla="*/ 176 w 286"/>
                <a:gd name="T39" fmla="*/ 3 h 201"/>
                <a:gd name="T40" fmla="*/ 231 w 286"/>
                <a:gd name="T41" fmla="*/ 41 h 201"/>
                <a:gd name="T42" fmla="*/ 270 w 286"/>
                <a:gd name="T43" fmla="*/ 53 h 201"/>
                <a:gd name="T44" fmla="*/ 185 w 286"/>
                <a:gd name="T45" fmla="*/ 34 h 201"/>
                <a:gd name="T46" fmla="*/ 99 w 286"/>
                <a:gd name="T47" fmla="*/ 13 h 201"/>
                <a:gd name="T48" fmla="*/ 98 w 286"/>
                <a:gd name="T49" fmla="*/ 38 h 201"/>
                <a:gd name="T50" fmla="*/ 208 w 286"/>
                <a:gd name="T51" fmla="*/ 63 h 201"/>
                <a:gd name="T52" fmla="*/ 250 w 286"/>
                <a:gd name="T53" fmla="*/ 138 h 201"/>
                <a:gd name="T54" fmla="*/ 286 w 286"/>
                <a:gd name="T55" fmla="*/ 141 h 201"/>
                <a:gd name="T56" fmla="*/ 252 w 286"/>
                <a:gd name="T57" fmla="*/ 154 h 201"/>
                <a:gd name="T58" fmla="*/ 230 w 286"/>
                <a:gd name="T59" fmla="*/ 164 h 201"/>
                <a:gd name="T60" fmla="*/ 204 w 286"/>
                <a:gd name="T61" fmla="*/ 177 h 201"/>
                <a:gd name="T62" fmla="*/ 174 w 286"/>
                <a:gd name="T63" fmla="*/ 191 h 201"/>
                <a:gd name="T64" fmla="*/ 144 w 286"/>
                <a:gd name="T65" fmla="*/ 190 h 201"/>
                <a:gd name="T66" fmla="*/ 141 w 286"/>
                <a:gd name="T67" fmla="*/ 188 h 201"/>
                <a:gd name="T68" fmla="*/ 112 w 286"/>
                <a:gd name="T69" fmla="*/ 189 h 201"/>
                <a:gd name="T70" fmla="*/ 82 w 286"/>
                <a:gd name="T71" fmla="*/ 178 h 201"/>
                <a:gd name="T72" fmla="*/ 55 w 286"/>
                <a:gd name="T73" fmla="*/ 162 h 2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86" h="201">
                  <a:moveTo>
                    <a:pt x="55" y="162"/>
                  </a:moveTo>
                  <a:cubicBezTo>
                    <a:pt x="50" y="163"/>
                    <a:pt x="44" y="163"/>
                    <a:pt x="39" y="160"/>
                  </a:cubicBezTo>
                  <a:cubicBezTo>
                    <a:pt x="36" y="158"/>
                    <a:pt x="33" y="156"/>
                    <a:pt x="32" y="153"/>
                  </a:cubicBezTo>
                  <a:cubicBezTo>
                    <a:pt x="12" y="154"/>
                    <a:pt x="12" y="154"/>
                    <a:pt x="12" y="154"/>
                  </a:cubicBezTo>
                  <a:cubicBezTo>
                    <a:pt x="0" y="143"/>
                    <a:pt x="0" y="143"/>
                    <a:pt x="0" y="143"/>
                  </a:cubicBezTo>
                  <a:cubicBezTo>
                    <a:pt x="29" y="141"/>
                    <a:pt x="29" y="141"/>
                    <a:pt x="29" y="141"/>
                  </a:cubicBezTo>
                  <a:cubicBezTo>
                    <a:pt x="29" y="137"/>
                    <a:pt x="30" y="134"/>
                    <a:pt x="31" y="130"/>
                  </a:cubicBezTo>
                  <a:cubicBezTo>
                    <a:pt x="54" y="90"/>
                    <a:pt x="54" y="90"/>
                    <a:pt x="54" y="90"/>
                  </a:cubicBezTo>
                  <a:cubicBezTo>
                    <a:pt x="60" y="79"/>
                    <a:pt x="74" y="76"/>
                    <a:pt x="84" y="82"/>
                  </a:cubicBezTo>
                  <a:cubicBezTo>
                    <a:pt x="91" y="86"/>
                    <a:pt x="95" y="94"/>
                    <a:pt x="94" y="101"/>
                  </a:cubicBezTo>
                  <a:cubicBezTo>
                    <a:pt x="98" y="101"/>
                    <a:pt x="102" y="102"/>
                    <a:pt x="106" y="104"/>
                  </a:cubicBezTo>
                  <a:cubicBezTo>
                    <a:pt x="113" y="108"/>
                    <a:pt x="117" y="116"/>
                    <a:pt x="116" y="123"/>
                  </a:cubicBezTo>
                  <a:cubicBezTo>
                    <a:pt x="121" y="123"/>
                    <a:pt x="124" y="124"/>
                    <a:pt x="128" y="126"/>
                  </a:cubicBezTo>
                  <a:cubicBezTo>
                    <a:pt x="134" y="130"/>
                    <a:pt x="137" y="136"/>
                    <a:pt x="138" y="142"/>
                  </a:cubicBezTo>
                  <a:cubicBezTo>
                    <a:pt x="141" y="142"/>
                    <a:pt x="143" y="144"/>
                    <a:pt x="146" y="145"/>
                  </a:cubicBezTo>
                  <a:cubicBezTo>
                    <a:pt x="148" y="146"/>
                    <a:pt x="150" y="149"/>
                    <a:pt x="150" y="149"/>
                  </a:cubicBezTo>
                  <a:cubicBezTo>
                    <a:pt x="157" y="142"/>
                    <a:pt x="157" y="142"/>
                    <a:pt x="157" y="142"/>
                  </a:cubicBezTo>
                  <a:cubicBezTo>
                    <a:pt x="175" y="175"/>
                    <a:pt x="175" y="175"/>
                    <a:pt x="175" y="175"/>
                  </a:cubicBezTo>
                  <a:cubicBezTo>
                    <a:pt x="178" y="180"/>
                    <a:pt x="183" y="182"/>
                    <a:pt x="187" y="179"/>
                  </a:cubicBezTo>
                  <a:cubicBezTo>
                    <a:pt x="194" y="176"/>
                    <a:pt x="193" y="170"/>
                    <a:pt x="191" y="167"/>
                  </a:cubicBezTo>
                  <a:cubicBezTo>
                    <a:pt x="170" y="129"/>
                    <a:pt x="170" y="129"/>
                    <a:pt x="170" y="129"/>
                  </a:cubicBezTo>
                  <a:cubicBezTo>
                    <a:pt x="179" y="120"/>
                    <a:pt x="179" y="120"/>
                    <a:pt x="179" y="120"/>
                  </a:cubicBezTo>
                  <a:cubicBezTo>
                    <a:pt x="202" y="160"/>
                    <a:pt x="202" y="160"/>
                    <a:pt x="202" y="160"/>
                  </a:cubicBezTo>
                  <a:cubicBezTo>
                    <a:pt x="204" y="164"/>
                    <a:pt x="210" y="166"/>
                    <a:pt x="214" y="164"/>
                  </a:cubicBezTo>
                  <a:cubicBezTo>
                    <a:pt x="220" y="161"/>
                    <a:pt x="218" y="155"/>
                    <a:pt x="217" y="152"/>
                  </a:cubicBezTo>
                  <a:cubicBezTo>
                    <a:pt x="191" y="108"/>
                    <a:pt x="191" y="108"/>
                    <a:pt x="191" y="108"/>
                  </a:cubicBezTo>
                  <a:cubicBezTo>
                    <a:pt x="200" y="99"/>
                    <a:pt x="200" y="99"/>
                    <a:pt x="200" y="99"/>
                  </a:cubicBezTo>
                  <a:cubicBezTo>
                    <a:pt x="229" y="148"/>
                    <a:pt x="229" y="148"/>
                    <a:pt x="229" y="148"/>
                  </a:cubicBezTo>
                  <a:cubicBezTo>
                    <a:pt x="231" y="152"/>
                    <a:pt x="235" y="154"/>
                    <a:pt x="238" y="151"/>
                  </a:cubicBezTo>
                  <a:cubicBezTo>
                    <a:pt x="240" y="150"/>
                    <a:pt x="241" y="147"/>
                    <a:pt x="239" y="144"/>
                  </a:cubicBezTo>
                  <a:cubicBezTo>
                    <a:pt x="203" y="75"/>
                    <a:pt x="203" y="75"/>
                    <a:pt x="203" y="75"/>
                  </a:cubicBezTo>
                  <a:cubicBezTo>
                    <a:pt x="105" y="49"/>
                    <a:pt x="105" y="49"/>
                    <a:pt x="105" y="49"/>
                  </a:cubicBezTo>
                  <a:cubicBezTo>
                    <a:pt x="97" y="57"/>
                    <a:pt x="73" y="76"/>
                    <a:pt x="49" y="57"/>
                  </a:cubicBezTo>
                  <a:cubicBezTo>
                    <a:pt x="12" y="56"/>
                    <a:pt x="12" y="56"/>
                    <a:pt x="12" y="56"/>
                  </a:cubicBezTo>
                  <a:cubicBezTo>
                    <a:pt x="23" y="44"/>
                    <a:pt x="23" y="44"/>
                    <a:pt x="23" y="44"/>
                  </a:cubicBezTo>
                  <a:cubicBezTo>
                    <a:pt x="50" y="45"/>
                    <a:pt x="50" y="45"/>
                    <a:pt x="50" y="45"/>
                  </a:cubicBezTo>
                  <a:cubicBezTo>
                    <a:pt x="93" y="2"/>
                    <a:pt x="93" y="2"/>
                    <a:pt x="93" y="2"/>
                  </a:cubicBezTo>
                  <a:cubicBezTo>
                    <a:pt x="93" y="1"/>
                    <a:pt x="96" y="0"/>
                    <a:pt x="97" y="0"/>
                  </a:cubicBezTo>
                  <a:cubicBezTo>
                    <a:pt x="171" y="1"/>
                    <a:pt x="171" y="1"/>
                    <a:pt x="171" y="1"/>
                  </a:cubicBezTo>
                  <a:cubicBezTo>
                    <a:pt x="173" y="1"/>
                    <a:pt x="176" y="2"/>
                    <a:pt x="176" y="3"/>
                  </a:cubicBezTo>
                  <a:cubicBezTo>
                    <a:pt x="195" y="26"/>
                    <a:pt x="195" y="26"/>
                    <a:pt x="195" y="26"/>
                  </a:cubicBezTo>
                  <a:cubicBezTo>
                    <a:pt x="198" y="30"/>
                    <a:pt x="206" y="42"/>
                    <a:pt x="231" y="41"/>
                  </a:cubicBezTo>
                  <a:cubicBezTo>
                    <a:pt x="258" y="41"/>
                    <a:pt x="258" y="41"/>
                    <a:pt x="258" y="41"/>
                  </a:cubicBezTo>
                  <a:cubicBezTo>
                    <a:pt x="270" y="53"/>
                    <a:pt x="270" y="53"/>
                    <a:pt x="270" y="53"/>
                  </a:cubicBezTo>
                  <a:cubicBezTo>
                    <a:pt x="232" y="54"/>
                    <a:pt x="232" y="54"/>
                    <a:pt x="232" y="54"/>
                  </a:cubicBezTo>
                  <a:cubicBezTo>
                    <a:pt x="199" y="55"/>
                    <a:pt x="190" y="39"/>
                    <a:pt x="185" y="34"/>
                  </a:cubicBezTo>
                  <a:cubicBezTo>
                    <a:pt x="169" y="13"/>
                    <a:pt x="169" y="13"/>
                    <a:pt x="169" y="13"/>
                  </a:cubicBezTo>
                  <a:cubicBezTo>
                    <a:pt x="99" y="13"/>
                    <a:pt x="99" y="13"/>
                    <a:pt x="99" y="13"/>
                  </a:cubicBezTo>
                  <a:cubicBezTo>
                    <a:pt x="62" y="51"/>
                    <a:pt x="62" y="51"/>
                    <a:pt x="62" y="51"/>
                  </a:cubicBezTo>
                  <a:cubicBezTo>
                    <a:pt x="81" y="59"/>
                    <a:pt x="98" y="38"/>
                    <a:pt x="98" y="38"/>
                  </a:cubicBezTo>
                  <a:cubicBezTo>
                    <a:pt x="100" y="36"/>
                    <a:pt x="102" y="35"/>
                    <a:pt x="105" y="36"/>
                  </a:cubicBezTo>
                  <a:cubicBezTo>
                    <a:pt x="208" y="63"/>
                    <a:pt x="208" y="63"/>
                    <a:pt x="208" y="63"/>
                  </a:cubicBezTo>
                  <a:cubicBezTo>
                    <a:pt x="210" y="63"/>
                    <a:pt x="212" y="65"/>
                    <a:pt x="212" y="66"/>
                  </a:cubicBezTo>
                  <a:cubicBezTo>
                    <a:pt x="250" y="138"/>
                    <a:pt x="250" y="138"/>
                    <a:pt x="250" y="138"/>
                  </a:cubicBezTo>
                  <a:cubicBezTo>
                    <a:pt x="251" y="139"/>
                    <a:pt x="251" y="140"/>
                    <a:pt x="252" y="141"/>
                  </a:cubicBezTo>
                  <a:cubicBezTo>
                    <a:pt x="252" y="142"/>
                    <a:pt x="286" y="141"/>
                    <a:pt x="286" y="141"/>
                  </a:cubicBezTo>
                  <a:cubicBezTo>
                    <a:pt x="273" y="154"/>
                    <a:pt x="273" y="154"/>
                    <a:pt x="273" y="154"/>
                  </a:cubicBezTo>
                  <a:cubicBezTo>
                    <a:pt x="252" y="154"/>
                    <a:pt x="252" y="154"/>
                    <a:pt x="252" y="154"/>
                  </a:cubicBezTo>
                  <a:cubicBezTo>
                    <a:pt x="251" y="157"/>
                    <a:pt x="248" y="160"/>
                    <a:pt x="243" y="163"/>
                  </a:cubicBezTo>
                  <a:cubicBezTo>
                    <a:pt x="239" y="165"/>
                    <a:pt x="234" y="165"/>
                    <a:pt x="230" y="164"/>
                  </a:cubicBezTo>
                  <a:cubicBezTo>
                    <a:pt x="228" y="168"/>
                    <a:pt x="225" y="172"/>
                    <a:pt x="220" y="175"/>
                  </a:cubicBezTo>
                  <a:cubicBezTo>
                    <a:pt x="215" y="178"/>
                    <a:pt x="209" y="178"/>
                    <a:pt x="204" y="177"/>
                  </a:cubicBezTo>
                  <a:cubicBezTo>
                    <a:pt x="203" y="182"/>
                    <a:pt x="199" y="187"/>
                    <a:pt x="193" y="190"/>
                  </a:cubicBezTo>
                  <a:cubicBezTo>
                    <a:pt x="187" y="194"/>
                    <a:pt x="180" y="194"/>
                    <a:pt x="174" y="191"/>
                  </a:cubicBezTo>
                  <a:cubicBezTo>
                    <a:pt x="173" y="193"/>
                    <a:pt x="171" y="195"/>
                    <a:pt x="168" y="197"/>
                  </a:cubicBezTo>
                  <a:cubicBezTo>
                    <a:pt x="159" y="201"/>
                    <a:pt x="149" y="198"/>
                    <a:pt x="144" y="190"/>
                  </a:cubicBezTo>
                  <a:cubicBezTo>
                    <a:pt x="142" y="186"/>
                    <a:pt x="142" y="186"/>
                    <a:pt x="142" y="186"/>
                  </a:cubicBezTo>
                  <a:cubicBezTo>
                    <a:pt x="141" y="188"/>
                    <a:pt x="141" y="188"/>
                    <a:pt x="141" y="188"/>
                  </a:cubicBezTo>
                  <a:cubicBezTo>
                    <a:pt x="136" y="197"/>
                    <a:pt x="126" y="199"/>
                    <a:pt x="117" y="194"/>
                  </a:cubicBezTo>
                  <a:cubicBezTo>
                    <a:pt x="115" y="193"/>
                    <a:pt x="113" y="192"/>
                    <a:pt x="112" y="189"/>
                  </a:cubicBezTo>
                  <a:cubicBezTo>
                    <a:pt x="106" y="193"/>
                    <a:pt x="98" y="193"/>
                    <a:pt x="91" y="190"/>
                  </a:cubicBezTo>
                  <a:cubicBezTo>
                    <a:pt x="86" y="187"/>
                    <a:pt x="83" y="183"/>
                    <a:pt x="82" y="178"/>
                  </a:cubicBezTo>
                  <a:cubicBezTo>
                    <a:pt x="77" y="179"/>
                    <a:pt x="71" y="178"/>
                    <a:pt x="65" y="175"/>
                  </a:cubicBezTo>
                  <a:cubicBezTo>
                    <a:pt x="60" y="172"/>
                    <a:pt x="57" y="167"/>
                    <a:pt x="55" y="162"/>
                  </a:cubicBezTo>
                  <a:close/>
                </a:path>
              </a:pathLst>
            </a:custGeom>
            <a:solidFill>
              <a:schemeClr val="tx2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vert="horz" wrap="square" lIns="101456" tIns="50729" rIns="101456" bIns="50729" numCol="1" anchor="t" anchorCtr="0" compatLnSpc="1">
              <a:prstTxWarp prst="textNoShape">
                <a:avLst/>
              </a:prstTxWarp>
            </a:bodyPr>
            <a:lstStyle/>
            <a:p>
              <a:pPr defTabSz="504442"/>
              <a:endParaRPr lang="en-US" sz="1998">
                <a:solidFill>
                  <a:prstClr val="black"/>
                </a:solidFill>
                <a:latin typeface="Ebrima" panose="02000000000000000000" pitchFamily="2" charset="0"/>
                <a:ea typeface="Ebrima" panose="02000000000000000000" pitchFamily="2" charset="0"/>
                <a:cs typeface="Ebrima" panose="02000000000000000000" pitchFamily="2" charset="0"/>
              </a:endParaRPr>
            </a:p>
          </p:txBody>
        </p:sp>
        <p:grpSp>
          <p:nvGrpSpPr>
            <p:cNvPr id="20" name="Group 434">
              <a:extLst>
                <a:ext uri="{FF2B5EF4-FFF2-40B4-BE49-F238E27FC236}">
                  <a16:creationId xmlns:a16="http://schemas.microsoft.com/office/drawing/2014/main" id="{BF876C57-0309-4FCF-9B5D-967E0BE2F3CA}"/>
                </a:ext>
              </a:extLst>
            </p:cNvPr>
            <p:cNvGrpSpPr/>
            <p:nvPr>
              <p:custDataLst>
                <p:tags r:id="rId15"/>
              </p:custDataLst>
            </p:nvPr>
          </p:nvGrpSpPr>
          <p:grpSpPr>
            <a:xfrm>
              <a:off x="-331438" y="3087332"/>
              <a:ext cx="1034958" cy="535459"/>
              <a:chOff x="-2037389" y="1780375"/>
              <a:chExt cx="6532598" cy="3379787"/>
            </a:xfrm>
          </p:grpSpPr>
          <p:sp>
            <p:nvSpPr>
              <p:cNvPr id="103" name="Freeform 6">
                <a:extLst>
                  <a:ext uri="{FF2B5EF4-FFF2-40B4-BE49-F238E27FC236}">
                    <a16:creationId xmlns:a16="http://schemas.microsoft.com/office/drawing/2014/main" id="{D989FA76-FD30-4698-8251-9AC07FB9CF9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2037389" y="1864511"/>
                <a:ext cx="4908550" cy="3295651"/>
              </a:xfrm>
              <a:custGeom>
                <a:avLst/>
                <a:gdLst>
                  <a:gd name="T0" fmla="*/ 452 w 639"/>
                  <a:gd name="T1" fmla="*/ 184 h 429"/>
                  <a:gd name="T2" fmla="*/ 207 w 639"/>
                  <a:gd name="T3" fmla="*/ 184 h 429"/>
                  <a:gd name="T4" fmla="*/ 180 w 639"/>
                  <a:gd name="T5" fmla="*/ 429 h 429"/>
                  <a:gd name="T6" fmla="*/ 466 w 639"/>
                  <a:gd name="T7" fmla="*/ 429 h 429"/>
                  <a:gd name="T8" fmla="*/ 452 w 639"/>
                  <a:gd name="T9" fmla="*/ 184 h 4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39" h="429">
                    <a:moveTo>
                      <a:pt x="452" y="184"/>
                    </a:moveTo>
                    <a:cubicBezTo>
                      <a:pt x="461" y="37"/>
                      <a:pt x="223" y="0"/>
                      <a:pt x="207" y="184"/>
                    </a:cubicBezTo>
                    <a:cubicBezTo>
                      <a:pt x="111" y="170"/>
                      <a:pt x="0" y="343"/>
                      <a:pt x="180" y="429"/>
                    </a:cubicBezTo>
                    <a:cubicBezTo>
                      <a:pt x="466" y="429"/>
                      <a:pt x="466" y="429"/>
                      <a:pt x="466" y="429"/>
                    </a:cubicBezTo>
                    <a:cubicBezTo>
                      <a:pt x="639" y="388"/>
                      <a:pt x="581" y="176"/>
                      <a:pt x="452" y="184"/>
                    </a:cubicBezTo>
                    <a:close/>
                  </a:path>
                </a:pathLst>
              </a:custGeom>
              <a:solidFill>
                <a:srgbClr val="E21C23"/>
              </a:solidFill>
              <a:ln>
                <a:noFill/>
              </a:ln>
            </p:spPr>
            <p:txBody>
              <a:bodyPr vert="horz" wrap="square" lIns="101506" tIns="50752" rIns="101506" bIns="50752" numCol="1" anchor="t" anchorCtr="0" compatLnSpc="1">
                <a:prstTxWarp prst="textNoShape">
                  <a:avLst/>
                </a:prstTxWarp>
              </a:bodyPr>
              <a:lstStyle/>
              <a:p>
                <a:pPr defTabSz="504442"/>
                <a:endParaRPr lang="en-US" sz="1998">
                  <a:solidFill>
                    <a:prstClr val="black"/>
                  </a:solidFill>
                  <a:latin typeface="Ebrima" panose="02000000000000000000" pitchFamily="2" charset="0"/>
                  <a:ea typeface="Ebrima" panose="02000000000000000000" pitchFamily="2" charset="0"/>
                  <a:cs typeface="Ebrima" panose="02000000000000000000" pitchFamily="2" charset="0"/>
                </a:endParaRPr>
              </a:p>
            </p:txBody>
          </p:sp>
          <p:sp>
            <p:nvSpPr>
              <p:cNvPr id="104" name="Freeform 7">
                <a:extLst>
                  <a:ext uri="{FF2B5EF4-FFF2-40B4-BE49-F238E27FC236}">
                    <a16:creationId xmlns:a16="http://schemas.microsoft.com/office/drawing/2014/main" id="{54A30F80-41EB-4ECB-A7AA-C1B8CB40B31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21795" y="1780375"/>
                <a:ext cx="3173414" cy="3341690"/>
              </a:xfrm>
              <a:custGeom>
                <a:avLst/>
                <a:gdLst>
                  <a:gd name="T0" fmla="*/ 234 w 413"/>
                  <a:gd name="T1" fmla="*/ 195 h 435"/>
                  <a:gd name="T2" fmla="*/ 3 w 413"/>
                  <a:gd name="T3" fmla="*/ 128 h 435"/>
                  <a:gd name="T4" fmla="*/ 3 w 413"/>
                  <a:gd name="T5" fmla="*/ 127 h 435"/>
                  <a:gd name="T6" fmla="*/ 0 w 413"/>
                  <a:gd name="T7" fmla="*/ 136 h 435"/>
                  <a:gd name="T8" fmla="*/ 15 w 413"/>
                  <a:gd name="T9" fmla="*/ 151 h 435"/>
                  <a:gd name="T10" fmla="*/ 28 w 413"/>
                  <a:gd name="T11" fmla="*/ 141 h 435"/>
                  <a:gd name="T12" fmla="*/ 203 w 413"/>
                  <a:gd name="T13" fmla="*/ 224 h 435"/>
                  <a:gd name="T14" fmla="*/ 258 w 413"/>
                  <a:gd name="T15" fmla="*/ 409 h 435"/>
                  <a:gd name="T16" fmla="*/ 111 w 413"/>
                  <a:gd name="T17" fmla="*/ 409 h 435"/>
                  <a:gd name="T18" fmla="*/ 100 w 413"/>
                  <a:gd name="T19" fmla="*/ 422 h 435"/>
                  <a:gd name="T20" fmla="*/ 111 w 413"/>
                  <a:gd name="T21" fmla="*/ 435 h 435"/>
                  <a:gd name="T22" fmla="*/ 262 w 413"/>
                  <a:gd name="T23" fmla="*/ 435 h 435"/>
                  <a:gd name="T24" fmla="*/ 234 w 413"/>
                  <a:gd name="T25" fmla="*/ 195 h 4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413" h="435">
                    <a:moveTo>
                      <a:pt x="234" y="195"/>
                    </a:moveTo>
                    <a:cubicBezTo>
                      <a:pt x="254" y="80"/>
                      <a:pt x="89" y="0"/>
                      <a:pt x="3" y="128"/>
                    </a:cubicBezTo>
                    <a:cubicBezTo>
                      <a:pt x="3" y="127"/>
                      <a:pt x="3" y="127"/>
                      <a:pt x="3" y="127"/>
                    </a:cubicBezTo>
                    <a:cubicBezTo>
                      <a:pt x="1" y="130"/>
                      <a:pt x="0" y="133"/>
                      <a:pt x="0" y="136"/>
                    </a:cubicBezTo>
                    <a:cubicBezTo>
                      <a:pt x="0" y="144"/>
                      <a:pt x="6" y="151"/>
                      <a:pt x="15" y="151"/>
                    </a:cubicBezTo>
                    <a:cubicBezTo>
                      <a:pt x="21" y="151"/>
                      <a:pt x="24" y="148"/>
                      <a:pt x="28" y="141"/>
                    </a:cubicBezTo>
                    <a:cubicBezTo>
                      <a:pt x="99" y="39"/>
                      <a:pt x="224" y="99"/>
                      <a:pt x="203" y="224"/>
                    </a:cubicBezTo>
                    <a:cubicBezTo>
                      <a:pt x="346" y="201"/>
                      <a:pt x="390" y="361"/>
                      <a:pt x="258" y="409"/>
                    </a:cubicBezTo>
                    <a:cubicBezTo>
                      <a:pt x="111" y="409"/>
                      <a:pt x="111" y="409"/>
                      <a:pt x="111" y="409"/>
                    </a:cubicBezTo>
                    <a:cubicBezTo>
                      <a:pt x="105" y="410"/>
                      <a:pt x="100" y="415"/>
                      <a:pt x="100" y="422"/>
                    </a:cubicBezTo>
                    <a:cubicBezTo>
                      <a:pt x="100" y="428"/>
                      <a:pt x="105" y="434"/>
                      <a:pt x="111" y="435"/>
                    </a:cubicBezTo>
                    <a:cubicBezTo>
                      <a:pt x="262" y="435"/>
                      <a:pt x="262" y="435"/>
                      <a:pt x="262" y="435"/>
                    </a:cubicBezTo>
                    <a:cubicBezTo>
                      <a:pt x="402" y="411"/>
                      <a:pt x="413" y="199"/>
                      <a:pt x="234" y="195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txBody>
              <a:bodyPr vert="horz" wrap="square" lIns="101506" tIns="50752" rIns="101506" bIns="50752" numCol="1" anchor="t" anchorCtr="0" compatLnSpc="1">
                <a:prstTxWarp prst="textNoShape">
                  <a:avLst/>
                </a:prstTxWarp>
              </a:bodyPr>
              <a:lstStyle/>
              <a:p>
                <a:pPr defTabSz="504442"/>
                <a:endParaRPr lang="en-US" sz="1998">
                  <a:solidFill>
                    <a:prstClr val="black"/>
                  </a:solidFill>
                  <a:latin typeface="Ebrima" panose="02000000000000000000" pitchFamily="2" charset="0"/>
                  <a:ea typeface="Ebrima" panose="02000000000000000000" pitchFamily="2" charset="0"/>
                  <a:cs typeface="Ebrima" panose="02000000000000000000" pitchFamily="2" charset="0"/>
                </a:endParaRPr>
              </a:p>
            </p:txBody>
          </p:sp>
        </p:grpSp>
        <p:sp>
          <p:nvSpPr>
            <p:cNvPr id="21" name="Rectangle 437">
              <a:extLst>
                <a:ext uri="{FF2B5EF4-FFF2-40B4-BE49-F238E27FC236}">
                  <a16:creationId xmlns:a16="http://schemas.microsoft.com/office/drawing/2014/main" id="{1044927D-95BA-4FC7-BD86-5C30FAF87DCF}"/>
                </a:ext>
              </a:extLst>
            </p:cNvPr>
            <p:cNvSpPr/>
            <p:nvPr>
              <p:custDataLst>
                <p:tags r:id="rId16"/>
              </p:custDataLst>
            </p:nvPr>
          </p:nvSpPr>
          <p:spPr>
            <a:xfrm>
              <a:off x="1467006" y="2797815"/>
              <a:ext cx="2443068" cy="555927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</p:spPr>
          <p:txBody>
            <a:bodyPr lIns="0" tIns="50729" rIns="0" bIns="50729" rtlCol="0" anchor="ctr"/>
            <a:lstStyle/>
            <a:p>
              <a:pPr algn="r" defTabSz="1014582"/>
              <a:r>
                <a:rPr lang="en-US" sz="2665" kern="0">
                  <a:solidFill>
                    <a:schemeClr val="accent4"/>
                  </a:solidFill>
                  <a:latin typeface="Ebrima" panose="02000000000000000000" pitchFamily="2" charset="0"/>
                  <a:ea typeface="Ebrima" panose="02000000000000000000" pitchFamily="2" charset="0"/>
                  <a:cs typeface="Ebrima" panose="02000000000000000000" pitchFamily="2" charset="0"/>
                </a:rPr>
                <a:t>managed cloud</a:t>
              </a:r>
            </a:p>
          </p:txBody>
        </p:sp>
        <p:sp>
          <p:nvSpPr>
            <p:cNvPr id="22" name="Rectangle 439">
              <a:extLst>
                <a:ext uri="{FF2B5EF4-FFF2-40B4-BE49-F238E27FC236}">
                  <a16:creationId xmlns:a16="http://schemas.microsoft.com/office/drawing/2014/main" id="{95AB2238-ED25-4B72-BB7E-3A932E45D473}"/>
                </a:ext>
              </a:extLst>
            </p:cNvPr>
            <p:cNvSpPr/>
            <p:nvPr>
              <p:custDataLst>
                <p:tags r:id="rId17"/>
              </p:custDataLst>
            </p:nvPr>
          </p:nvSpPr>
          <p:spPr>
            <a:xfrm rot="16200000">
              <a:off x="2127656" y="3333350"/>
              <a:ext cx="789798" cy="510176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</p:spPr>
          <p:txBody>
            <a:bodyPr lIns="0" tIns="50729" rIns="0" bIns="50729" rtlCol="0" anchor="ctr"/>
            <a:lstStyle/>
            <a:p>
              <a:pPr defTabSz="1014582">
                <a:defRPr/>
              </a:pPr>
              <a:r>
                <a:rPr lang="en-US" sz="2665" kern="0" err="1">
                  <a:solidFill>
                    <a:srgbClr val="87898B"/>
                  </a:solidFill>
                  <a:latin typeface="Ebrima" panose="02000000000000000000" pitchFamily="2" charset="0"/>
                  <a:ea typeface="Ebrima" panose="02000000000000000000" pitchFamily="2" charset="0"/>
                  <a:cs typeface="Ebrima" panose="02000000000000000000" pitchFamily="2" charset="0"/>
                </a:rPr>
                <a:t>SaaS</a:t>
              </a:r>
              <a:endParaRPr lang="en-US" sz="2665" kern="0">
                <a:solidFill>
                  <a:srgbClr val="87898B"/>
                </a:solidFill>
                <a:latin typeface="Ebrima" panose="02000000000000000000" pitchFamily="2" charset="0"/>
                <a:ea typeface="Ebrima" panose="02000000000000000000" pitchFamily="2" charset="0"/>
                <a:cs typeface="Ebrima" panose="02000000000000000000" pitchFamily="2" charset="0"/>
              </a:endParaRPr>
            </a:p>
          </p:txBody>
        </p:sp>
        <p:sp>
          <p:nvSpPr>
            <p:cNvPr id="23" name="Rectangle 440">
              <a:extLst>
                <a:ext uri="{FF2B5EF4-FFF2-40B4-BE49-F238E27FC236}">
                  <a16:creationId xmlns:a16="http://schemas.microsoft.com/office/drawing/2014/main" id="{8ECB41E0-5365-40B5-B854-3D289CD2BE2A}"/>
                </a:ext>
              </a:extLst>
            </p:cNvPr>
            <p:cNvSpPr/>
            <p:nvPr>
              <p:custDataLst>
                <p:tags r:id="rId18"/>
              </p:custDataLst>
            </p:nvPr>
          </p:nvSpPr>
          <p:spPr>
            <a:xfrm rot="16200000">
              <a:off x="955041" y="1590328"/>
              <a:ext cx="1775608" cy="667322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</p:spPr>
          <p:txBody>
            <a:bodyPr lIns="0" tIns="50729" rIns="0" bIns="50729" rtlCol="0" anchor="ctr"/>
            <a:lstStyle/>
            <a:p>
              <a:pPr defTabSz="1014582">
                <a:defRPr/>
              </a:pPr>
              <a:r>
                <a:rPr lang="en-US" sz="1998" b="1" kern="0">
                  <a:solidFill>
                    <a:srgbClr val="87898B"/>
                  </a:solidFill>
                  <a:latin typeface="Ebrima" panose="02000000000000000000" pitchFamily="2" charset="0"/>
                  <a:ea typeface="Ebrima" panose="02000000000000000000" pitchFamily="2" charset="0"/>
                  <a:cs typeface="Ebrima" panose="02000000000000000000" pitchFamily="2" charset="0"/>
                </a:rPr>
                <a:t>Storage</a:t>
              </a:r>
            </a:p>
          </p:txBody>
        </p:sp>
        <p:sp>
          <p:nvSpPr>
            <p:cNvPr id="24" name="Rounded Rectangle 442">
              <a:extLst>
                <a:ext uri="{FF2B5EF4-FFF2-40B4-BE49-F238E27FC236}">
                  <a16:creationId xmlns:a16="http://schemas.microsoft.com/office/drawing/2014/main" id="{A19A723E-F4B8-478E-9422-77C2A3C80C73}"/>
                </a:ext>
              </a:extLst>
            </p:cNvPr>
            <p:cNvSpPr/>
            <p:nvPr>
              <p:custDataLst>
                <p:tags r:id="rId19"/>
              </p:custDataLst>
            </p:nvPr>
          </p:nvSpPr>
          <p:spPr>
            <a:xfrm>
              <a:off x="5601213" y="2830307"/>
              <a:ext cx="544719" cy="540089"/>
            </a:xfrm>
            <a:prstGeom prst="roundRect">
              <a:avLst>
                <a:gd name="adj" fmla="val 12398"/>
              </a:avLst>
            </a:prstGeom>
            <a:solidFill>
              <a:schemeClr val="tx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>
              <a:noAutofit/>
            </a:bodyPr>
            <a:lstStyle/>
            <a:p>
              <a:pPr algn="ctr" defTabSz="504442"/>
              <a:r>
                <a:rPr lang="en-US" sz="1998">
                  <a:solidFill>
                    <a:srgbClr val="E5E8E8"/>
                  </a:solidFill>
                  <a:latin typeface="Ebrima" panose="02000000000000000000" pitchFamily="2" charset="0"/>
                  <a:ea typeface="Ebrima" panose="02000000000000000000" pitchFamily="2" charset="0"/>
                  <a:cs typeface="Ebrima" panose="02000000000000000000" pitchFamily="2" charset="0"/>
                </a:rPr>
                <a:t>Apps</a:t>
              </a:r>
            </a:p>
          </p:txBody>
        </p:sp>
        <p:grpSp>
          <p:nvGrpSpPr>
            <p:cNvPr id="25" name="Group 4">
              <a:extLst>
                <a:ext uri="{FF2B5EF4-FFF2-40B4-BE49-F238E27FC236}">
                  <a16:creationId xmlns:a16="http://schemas.microsoft.com/office/drawing/2014/main" id="{1C5DCA57-24AB-4BE1-AFF1-8198B8DE2F78}"/>
                </a:ext>
              </a:extLst>
            </p:cNvPr>
            <p:cNvGrpSpPr/>
            <p:nvPr>
              <p:custDataLst>
                <p:tags r:id="rId20"/>
              </p:custDataLst>
            </p:nvPr>
          </p:nvGrpSpPr>
          <p:grpSpPr>
            <a:xfrm>
              <a:off x="3530596" y="953680"/>
              <a:ext cx="868068" cy="223174"/>
              <a:chOff x="803042" y="2513025"/>
              <a:chExt cx="1662441" cy="373709"/>
            </a:xfrm>
          </p:grpSpPr>
          <p:sp>
            <p:nvSpPr>
              <p:cNvPr id="100" name="Rounded Rectangle 443">
                <a:extLst>
                  <a:ext uri="{FF2B5EF4-FFF2-40B4-BE49-F238E27FC236}">
                    <a16:creationId xmlns:a16="http://schemas.microsoft.com/office/drawing/2014/main" id="{1ADD330B-8959-4686-835C-93E3B53449F0}"/>
                  </a:ext>
                </a:extLst>
              </p:cNvPr>
              <p:cNvSpPr/>
              <p:nvPr/>
            </p:nvSpPr>
            <p:spPr>
              <a:xfrm>
                <a:off x="803042" y="2513025"/>
                <a:ext cx="1662441" cy="373709"/>
              </a:xfrm>
              <a:prstGeom prst="roundRect">
                <a:avLst/>
              </a:prstGeom>
              <a:solidFill>
                <a:srgbClr val="0096D6"/>
              </a:solidFill>
              <a:ln w="19050">
                <a:solidFill>
                  <a:schemeClr val="bg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r" defTabSz="504442"/>
                <a:endParaRPr lang="en-US" sz="1332">
                  <a:solidFill>
                    <a:prstClr val="black"/>
                  </a:solidFill>
                  <a:latin typeface="Ebrima" panose="02000000000000000000" pitchFamily="2" charset="0"/>
                  <a:ea typeface="Ebrima" panose="02000000000000000000" pitchFamily="2" charset="0"/>
                  <a:cs typeface="Ebrima" panose="02000000000000000000" pitchFamily="2" charset="0"/>
                </a:endParaRPr>
              </a:p>
            </p:txBody>
          </p:sp>
          <p:sp>
            <p:nvSpPr>
              <p:cNvPr id="101" name="Oval 444">
                <a:extLst>
                  <a:ext uri="{FF2B5EF4-FFF2-40B4-BE49-F238E27FC236}">
                    <a16:creationId xmlns:a16="http://schemas.microsoft.com/office/drawing/2014/main" id="{62D7D482-1F5D-4703-82C6-A99145DF90C6}"/>
                  </a:ext>
                </a:extLst>
              </p:cNvPr>
              <p:cNvSpPr/>
              <p:nvPr/>
            </p:nvSpPr>
            <p:spPr>
              <a:xfrm>
                <a:off x="944963" y="2612200"/>
                <a:ext cx="189288" cy="189289"/>
              </a:xfrm>
              <a:prstGeom prst="ellipse">
                <a:avLst/>
              </a:prstGeom>
              <a:noFill/>
              <a:ln w="19050">
                <a:solidFill>
                  <a:schemeClr val="bg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r" defTabSz="504442"/>
                <a:endParaRPr lang="en-US" sz="1332">
                  <a:solidFill>
                    <a:prstClr val="black"/>
                  </a:solidFill>
                  <a:latin typeface="Ebrima" panose="02000000000000000000" pitchFamily="2" charset="0"/>
                  <a:ea typeface="Ebrima" panose="02000000000000000000" pitchFamily="2" charset="0"/>
                  <a:cs typeface="Ebrima" panose="02000000000000000000" pitchFamily="2" charset="0"/>
                </a:endParaRPr>
              </a:p>
            </p:txBody>
          </p:sp>
          <p:sp>
            <p:nvSpPr>
              <p:cNvPr id="102" name="Rounded Rectangle 445">
                <a:extLst>
                  <a:ext uri="{FF2B5EF4-FFF2-40B4-BE49-F238E27FC236}">
                    <a16:creationId xmlns:a16="http://schemas.microsoft.com/office/drawing/2014/main" id="{F10D8918-FD6C-48F7-8AA7-92FB1D982489}"/>
                  </a:ext>
                </a:extLst>
              </p:cNvPr>
              <p:cNvSpPr/>
              <p:nvPr/>
            </p:nvSpPr>
            <p:spPr>
              <a:xfrm>
                <a:off x="1278019" y="2624721"/>
                <a:ext cx="1052242" cy="172465"/>
              </a:xfrm>
              <a:prstGeom prst="roundRect">
                <a:avLst/>
              </a:prstGeom>
              <a:solidFill>
                <a:schemeClr val="accent5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30452" tIns="0" bIns="10149" rtlCol="0" anchor="ctr"/>
              <a:lstStyle/>
              <a:p>
                <a:pPr algn="r" defTabSz="504442"/>
                <a:r>
                  <a:rPr lang="en-US" sz="889">
                    <a:solidFill>
                      <a:srgbClr val="0096D6"/>
                    </a:solidFill>
                    <a:latin typeface="Ebrima" panose="02000000000000000000" pitchFamily="2" charset="0"/>
                    <a:ea typeface="Ebrima" panose="02000000000000000000" pitchFamily="2" charset="0"/>
                    <a:cs typeface="Ebrima" panose="02000000000000000000" pitchFamily="2" charset="0"/>
                    <a:sym typeface="HP Simplified"/>
                  </a:rPr>
                  <a:t>●●</a:t>
                </a:r>
              </a:p>
            </p:txBody>
          </p:sp>
        </p:grpSp>
        <p:sp>
          <p:nvSpPr>
            <p:cNvPr id="26" name="Rectangle 453">
              <a:extLst>
                <a:ext uri="{FF2B5EF4-FFF2-40B4-BE49-F238E27FC236}">
                  <a16:creationId xmlns:a16="http://schemas.microsoft.com/office/drawing/2014/main" id="{837C78D9-2BD2-4D81-B700-DF6C9848E2B0}"/>
                </a:ext>
              </a:extLst>
            </p:cNvPr>
            <p:cNvSpPr/>
            <p:nvPr>
              <p:custDataLst>
                <p:tags r:id="rId21"/>
              </p:custDataLst>
            </p:nvPr>
          </p:nvSpPr>
          <p:spPr>
            <a:xfrm>
              <a:off x="3679522" y="1246179"/>
              <a:ext cx="1601804" cy="555927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</p:spPr>
          <p:txBody>
            <a:bodyPr lIns="0" tIns="50729" rIns="0" bIns="50729" rtlCol="0" anchor="ctr"/>
            <a:lstStyle/>
            <a:p>
              <a:pPr algn="r" defTabSz="1014582"/>
              <a:r>
                <a:rPr lang="en-GB" sz="1998" b="1" kern="0">
                  <a:solidFill>
                    <a:schemeClr val="accent4"/>
                  </a:solidFill>
                  <a:latin typeface="Ebrima" panose="02000000000000000000" pitchFamily="2" charset="0"/>
                  <a:ea typeface="Ebrima" panose="02000000000000000000" pitchFamily="2" charset="0"/>
                  <a:cs typeface="Ebrima" panose="02000000000000000000" pitchFamily="2" charset="0"/>
                </a:rPr>
                <a:t>Continuous compliance</a:t>
              </a:r>
              <a:endParaRPr lang="en-US" sz="1998" b="1" kern="0">
                <a:solidFill>
                  <a:schemeClr val="accent4"/>
                </a:solidFill>
                <a:latin typeface="Ebrima" panose="02000000000000000000" pitchFamily="2" charset="0"/>
                <a:ea typeface="Ebrima" panose="02000000000000000000" pitchFamily="2" charset="0"/>
                <a:cs typeface="Ebrima" panose="02000000000000000000" pitchFamily="2" charset="0"/>
              </a:endParaRPr>
            </a:p>
          </p:txBody>
        </p:sp>
        <p:sp>
          <p:nvSpPr>
            <p:cNvPr id="27" name="Rectangle 454">
              <a:extLst>
                <a:ext uri="{FF2B5EF4-FFF2-40B4-BE49-F238E27FC236}">
                  <a16:creationId xmlns:a16="http://schemas.microsoft.com/office/drawing/2014/main" id="{054C94D9-8F54-4698-8BCC-6920F1A5388E}"/>
                </a:ext>
              </a:extLst>
            </p:cNvPr>
            <p:cNvSpPr/>
            <p:nvPr>
              <p:custDataLst>
                <p:tags r:id="rId22"/>
              </p:custDataLst>
            </p:nvPr>
          </p:nvSpPr>
          <p:spPr>
            <a:xfrm>
              <a:off x="4255290" y="2866442"/>
              <a:ext cx="1361389" cy="459443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</p:spPr>
          <p:txBody>
            <a:bodyPr lIns="0" tIns="50729" rIns="0" bIns="50729" rtlCol="0" anchor="ctr"/>
            <a:lstStyle/>
            <a:p>
              <a:pPr defTabSz="1014582">
                <a:spcBef>
                  <a:spcPts val="1332"/>
                </a:spcBef>
              </a:pPr>
              <a:r>
                <a:rPr lang="en-US" sz="1554" kern="0">
                  <a:solidFill>
                    <a:srgbClr val="B9B8BB"/>
                  </a:solidFill>
                  <a:latin typeface="Ebrima" panose="02000000000000000000" pitchFamily="2" charset="0"/>
                  <a:ea typeface="Ebrima" panose="02000000000000000000" pitchFamily="2" charset="0"/>
                  <a:cs typeface="Ebrima" panose="02000000000000000000" pitchFamily="2" charset="0"/>
                </a:rPr>
                <a:t>in-house/legacy</a:t>
              </a:r>
              <a:br>
                <a:rPr lang="en-US" sz="1554" kern="0">
                  <a:solidFill>
                    <a:srgbClr val="B9B8BB"/>
                  </a:solidFill>
                  <a:latin typeface="Ebrima" panose="02000000000000000000" pitchFamily="2" charset="0"/>
                  <a:ea typeface="Ebrima" panose="02000000000000000000" pitchFamily="2" charset="0"/>
                  <a:cs typeface="Ebrima" panose="02000000000000000000" pitchFamily="2" charset="0"/>
                </a:rPr>
              </a:br>
              <a:r>
                <a:rPr lang="en-US" sz="1554" kern="0">
                  <a:solidFill>
                    <a:srgbClr val="B9B8BB"/>
                  </a:solidFill>
                  <a:latin typeface="Ebrima" panose="02000000000000000000" pitchFamily="2" charset="0"/>
                  <a:ea typeface="Ebrima" panose="02000000000000000000" pitchFamily="2" charset="0"/>
                  <a:cs typeface="Ebrima" panose="02000000000000000000" pitchFamily="2" charset="0"/>
                </a:rPr>
                <a:t>custom apps</a:t>
              </a:r>
            </a:p>
          </p:txBody>
        </p:sp>
        <p:sp>
          <p:nvSpPr>
            <p:cNvPr id="28" name="Title 3">
              <a:extLst>
                <a:ext uri="{FF2B5EF4-FFF2-40B4-BE49-F238E27FC236}">
                  <a16:creationId xmlns:a16="http://schemas.microsoft.com/office/drawing/2014/main" id="{D7EEE506-F34A-4726-B888-06D36EA14AD0}"/>
                </a:ext>
              </a:extLst>
            </p:cNvPr>
            <p:cNvSpPr txBox="1">
              <a:spLocks/>
            </p:cNvSpPr>
            <p:nvPr>
              <p:custDataLst>
                <p:tags r:id="rId23"/>
              </p:custDataLst>
            </p:nvPr>
          </p:nvSpPr>
          <p:spPr bwMode="black">
            <a:xfrm>
              <a:off x="2195610" y="272738"/>
              <a:ext cx="4300539" cy="1040357"/>
            </a:xfrm>
            <a:prstGeom prst="rect">
              <a:avLst/>
            </a:prstGeom>
            <a:ln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lvl1pPr algn="l" defTabSz="950701" rtl="0" eaLnBrk="1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None/>
                <a:defRPr lang="en-GB" sz="5800" b="1" i="0" kern="1200" dirty="0" smtClean="0">
                  <a:solidFill>
                    <a:srgbClr val="000000"/>
                  </a:solidFill>
                  <a:latin typeface="HP Simplified" pitchFamily="34" charset="0"/>
                  <a:ea typeface="+mj-ea"/>
                  <a:cs typeface="HP Simplified" pitchFamily="34" charset="0"/>
                </a:defRPr>
              </a:lvl1pPr>
            </a:lstStyle>
            <a:p>
              <a:r>
                <a:rPr lang="en-US" sz="3200">
                  <a:solidFill>
                    <a:schemeClr val="tx2"/>
                  </a:solidFill>
                  <a:latin typeface="Ebrima" panose="02000000000000000000" pitchFamily="2" charset="0"/>
                  <a:ea typeface="Ebrima" panose="02000000000000000000" pitchFamily="2" charset="0"/>
                  <a:cs typeface="Ebrima" panose="02000000000000000000" pitchFamily="2" charset="0"/>
                </a:rPr>
                <a:t>SIEM</a:t>
              </a:r>
            </a:p>
          </p:txBody>
        </p:sp>
        <p:sp>
          <p:nvSpPr>
            <p:cNvPr id="29" name="Title 3">
              <a:extLst>
                <a:ext uri="{FF2B5EF4-FFF2-40B4-BE49-F238E27FC236}">
                  <a16:creationId xmlns:a16="http://schemas.microsoft.com/office/drawing/2014/main" id="{C5526F74-7432-4D00-A131-C1C93C1310AB}"/>
                </a:ext>
              </a:extLst>
            </p:cNvPr>
            <p:cNvSpPr txBox="1">
              <a:spLocks/>
            </p:cNvSpPr>
            <p:nvPr>
              <p:custDataLst>
                <p:tags r:id="rId24"/>
              </p:custDataLst>
            </p:nvPr>
          </p:nvSpPr>
          <p:spPr bwMode="black">
            <a:xfrm>
              <a:off x="2896862" y="2347501"/>
              <a:ext cx="3870784" cy="474432"/>
            </a:xfrm>
            <a:prstGeom prst="rect">
              <a:avLst/>
            </a:prstGeom>
            <a:ln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lvl1pPr algn="l" defTabSz="457200" rtl="0" eaLnBrk="1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None/>
                <a:defRPr lang="en-GB" sz="2800" b="1" i="0" kern="1200" dirty="0" smtClean="0">
                  <a:solidFill>
                    <a:srgbClr val="000000"/>
                  </a:solidFill>
                  <a:latin typeface="HP Simplified" pitchFamily="34" charset="0"/>
                  <a:ea typeface="+mj-ea"/>
                  <a:cs typeface="HP Simplified" pitchFamily="34" charset="0"/>
                </a:defRPr>
              </a:lvl1pPr>
            </a:lstStyle>
            <a:p>
              <a:r>
                <a:rPr lang="sk-SK" sz="3200">
                  <a:solidFill>
                    <a:schemeClr val="tx2"/>
                  </a:solidFill>
                  <a:latin typeface="Ebrima" panose="02000000000000000000" pitchFamily="2" charset="0"/>
                  <a:ea typeface="Ebrima" panose="02000000000000000000" pitchFamily="2" charset="0"/>
                  <a:cs typeface="Ebrima" panose="02000000000000000000" pitchFamily="2" charset="0"/>
                </a:rPr>
                <a:t>L</a:t>
              </a:r>
              <a:r>
                <a:rPr lang="en-US" sz="3200" err="1">
                  <a:solidFill>
                    <a:schemeClr val="tx2"/>
                  </a:solidFill>
                  <a:latin typeface="Ebrima" panose="02000000000000000000" pitchFamily="2" charset="0"/>
                  <a:ea typeface="Ebrima" panose="02000000000000000000" pitchFamily="2" charset="0"/>
                  <a:cs typeface="Ebrima" panose="02000000000000000000" pitchFamily="2" charset="0"/>
                </a:rPr>
                <a:t>og</a:t>
              </a:r>
              <a:r>
                <a:rPr lang="en-US" sz="3200">
                  <a:solidFill>
                    <a:schemeClr val="tx2"/>
                  </a:solidFill>
                  <a:latin typeface="Ebrima" panose="02000000000000000000" pitchFamily="2" charset="0"/>
                  <a:ea typeface="Ebrima" panose="02000000000000000000" pitchFamily="2" charset="0"/>
                  <a:cs typeface="Ebrima" panose="02000000000000000000" pitchFamily="2" charset="0"/>
                </a:rPr>
                <a:t> </a:t>
              </a:r>
              <a:r>
                <a:rPr lang="sk-SK" sz="3200">
                  <a:solidFill>
                    <a:schemeClr val="tx2"/>
                  </a:solidFill>
                  <a:latin typeface="Ebrima" panose="02000000000000000000" pitchFamily="2" charset="0"/>
                  <a:ea typeface="Ebrima" panose="02000000000000000000" pitchFamily="2" charset="0"/>
                  <a:cs typeface="Ebrima" panose="02000000000000000000" pitchFamily="2" charset="0"/>
                </a:rPr>
                <a:t>M</a:t>
              </a:r>
              <a:r>
                <a:rPr lang="en-US" sz="3200" err="1">
                  <a:solidFill>
                    <a:schemeClr val="tx2"/>
                  </a:solidFill>
                  <a:latin typeface="Ebrima" panose="02000000000000000000" pitchFamily="2" charset="0"/>
                  <a:ea typeface="Ebrima" panose="02000000000000000000" pitchFamily="2" charset="0"/>
                  <a:cs typeface="Ebrima" panose="02000000000000000000" pitchFamily="2" charset="0"/>
                </a:rPr>
                <a:t>anagement</a:t>
              </a:r>
              <a:endParaRPr lang="en-US" sz="3200">
                <a:solidFill>
                  <a:schemeClr val="tx2"/>
                </a:solidFill>
                <a:latin typeface="Ebrima" panose="02000000000000000000" pitchFamily="2" charset="0"/>
                <a:ea typeface="Ebrima" panose="02000000000000000000" pitchFamily="2" charset="0"/>
                <a:cs typeface="Ebrima" panose="02000000000000000000" pitchFamily="2" charset="0"/>
              </a:endParaRPr>
            </a:p>
          </p:txBody>
        </p:sp>
        <p:sp>
          <p:nvSpPr>
            <p:cNvPr id="30" name="Rectangle 459">
              <a:extLst>
                <a:ext uri="{FF2B5EF4-FFF2-40B4-BE49-F238E27FC236}">
                  <a16:creationId xmlns:a16="http://schemas.microsoft.com/office/drawing/2014/main" id="{864A75ED-CCF5-4CBE-B7AD-1C2A133C4545}"/>
                </a:ext>
              </a:extLst>
            </p:cNvPr>
            <p:cNvSpPr/>
            <p:nvPr>
              <p:custDataLst>
                <p:tags r:id="rId25"/>
              </p:custDataLst>
            </p:nvPr>
          </p:nvSpPr>
          <p:spPr>
            <a:xfrm rot="16200000">
              <a:off x="5649369" y="3199605"/>
              <a:ext cx="1598381" cy="510176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</p:spPr>
          <p:txBody>
            <a:bodyPr lIns="0" tIns="50729" rIns="0" bIns="50729" rtlCol="0" anchor="ctr"/>
            <a:lstStyle/>
            <a:p>
              <a:pPr algn="r" defTabSz="1014582">
                <a:defRPr/>
              </a:pPr>
              <a:r>
                <a:rPr lang="en-US" sz="1554" b="1" kern="0">
                  <a:solidFill>
                    <a:srgbClr val="87898B"/>
                  </a:solidFill>
                  <a:latin typeface="Ebrima" panose="02000000000000000000" pitchFamily="2" charset="0"/>
                  <a:ea typeface="Ebrima" panose="02000000000000000000" pitchFamily="2" charset="0"/>
                  <a:cs typeface="Ebrima" panose="02000000000000000000" pitchFamily="2" charset="0"/>
                </a:rPr>
                <a:t>Applications</a:t>
              </a:r>
            </a:p>
          </p:txBody>
        </p:sp>
        <p:sp>
          <p:nvSpPr>
            <p:cNvPr id="31" name="Rectangle 460">
              <a:extLst>
                <a:ext uri="{FF2B5EF4-FFF2-40B4-BE49-F238E27FC236}">
                  <a16:creationId xmlns:a16="http://schemas.microsoft.com/office/drawing/2014/main" id="{0FF5759D-8EB9-451C-AD76-5D72F799289B}"/>
                </a:ext>
              </a:extLst>
            </p:cNvPr>
            <p:cNvSpPr/>
            <p:nvPr>
              <p:custDataLst>
                <p:tags r:id="rId26"/>
              </p:custDataLst>
            </p:nvPr>
          </p:nvSpPr>
          <p:spPr>
            <a:xfrm>
              <a:off x="-637776" y="4508083"/>
              <a:ext cx="1427018" cy="417676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</p:spPr>
          <p:txBody>
            <a:bodyPr lIns="0" tIns="50729" rIns="0" bIns="50729" rtlCol="0" anchor="ctr"/>
            <a:lstStyle/>
            <a:p>
              <a:pPr defTabSz="1014582"/>
              <a:r>
                <a:rPr lang="en-US" sz="1776" b="1" kern="0">
                  <a:solidFill>
                    <a:schemeClr val="accent5"/>
                  </a:solidFill>
                  <a:latin typeface="Ebrima" panose="02000000000000000000" pitchFamily="2" charset="0"/>
                  <a:ea typeface="Ebrima" panose="02000000000000000000" pitchFamily="2" charset="0"/>
                  <a:cs typeface="Ebrima" panose="02000000000000000000" pitchFamily="2" charset="0"/>
                </a:rPr>
                <a:t>350+ CEF partners</a:t>
              </a:r>
            </a:p>
          </p:txBody>
        </p:sp>
        <p:sp>
          <p:nvSpPr>
            <p:cNvPr id="32" name="Rectangle 463">
              <a:extLst>
                <a:ext uri="{FF2B5EF4-FFF2-40B4-BE49-F238E27FC236}">
                  <a16:creationId xmlns:a16="http://schemas.microsoft.com/office/drawing/2014/main" id="{5B8A0BC7-4334-49E3-B1FF-4C248B759CF9}"/>
                </a:ext>
              </a:extLst>
            </p:cNvPr>
            <p:cNvSpPr/>
            <p:nvPr>
              <p:custDataLst>
                <p:tags r:id="rId27"/>
              </p:custDataLst>
            </p:nvPr>
          </p:nvSpPr>
          <p:spPr>
            <a:xfrm rot="16200000">
              <a:off x="6244788" y="1624200"/>
              <a:ext cx="1864262" cy="510176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</p:spPr>
          <p:txBody>
            <a:bodyPr lIns="0" tIns="50729" rIns="0" bIns="50729" rtlCol="0" anchor="ctr"/>
            <a:lstStyle/>
            <a:p>
              <a:pPr defTabSz="1014582">
                <a:defRPr/>
              </a:pPr>
              <a:r>
                <a:rPr lang="en-GB" sz="3108" kern="0">
                  <a:solidFill>
                    <a:srgbClr val="87898B"/>
                  </a:solidFill>
                  <a:latin typeface="Ebrima" panose="02000000000000000000" pitchFamily="2" charset="0"/>
                  <a:ea typeface="Ebrima" panose="02000000000000000000" pitchFamily="2" charset="0"/>
                  <a:cs typeface="Ebrima" panose="02000000000000000000" pitchFamily="2" charset="0"/>
                </a:rPr>
                <a:t>Big Data</a:t>
              </a:r>
              <a:endParaRPr lang="en-US" sz="3108" kern="0">
                <a:solidFill>
                  <a:srgbClr val="87898B"/>
                </a:solidFill>
                <a:latin typeface="Ebrima" panose="02000000000000000000" pitchFamily="2" charset="0"/>
                <a:ea typeface="Ebrima" panose="02000000000000000000" pitchFamily="2" charset="0"/>
                <a:cs typeface="Ebrima" panose="02000000000000000000" pitchFamily="2" charset="0"/>
              </a:endParaRPr>
            </a:p>
          </p:txBody>
        </p:sp>
        <p:sp>
          <p:nvSpPr>
            <p:cNvPr id="33" name="Rectangle 464">
              <a:extLst>
                <a:ext uri="{FF2B5EF4-FFF2-40B4-BE49-F238E27FC236}">
                  <a16:creationId xmlns:a16="http://schemas.microsoft.com/office/drawing/2014/main" id="{886AAF8D-DE51-4938-AB05-615726C39A86}"/>
                </a:ext>
              </a:extLst>
            </p:cNvPr>
            <p:cNvSpPr/>
            <p:nvPr>
              <p:custDataLst>
                <p:tags r:id="rId28"/>
              </p:custDataLst>
            </p:nvPr>
          </p:nvSpPr>
          <p:spPr>
            <a:xfrm>
              <a:off x="7160470" y="4362448"/>
              <a:ext cx="1104674" cy="555927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</p:spPr>
          <p:txBody>
            <a:bodyPr lIns="0" tIns="50729" rIns="0" bIns="50729" rtlCol="0" anchor="ctr"/>
            <a:lstStyle/>
            <a:p>
              <a:pPr defTabSz="1014582"/>
              <a:r>
                <a:rPr lang="en-US" sz="1554" kern="0">
                  <a:solidFill>
                    <a:srgbClr val="87898B"/>
                  </a:solidFill>
                  <a:latin typeface="Ebrima" panose="02000000000000000000" pitchFamily="2" charset="0"/>
                  <a:ea typeface="Ebrima" panose="02000000000000000000" pitchFamily="2" charset="0"/>
                  <a:cs typeface="Ebrima" panose="02000000000000000000" pitchFamily="2" charset="0"/>
                </a:rPr>
                <a:t>Cloud security</a:t>
              </a:r>
            </a:p>
          </p:txBody>
        </p:sp>
        <p:sp>
          <p:nvSpPr>
            <p:cNvPr id="34" name="Rectangle 465">
              <a:extLst>
                <a:ext uri="{FF2B5EF4-FFF2-40B4-BE49-F238E27FC236}">
                  <a16:creationId xmlns:a16="http://schemas.microsoft.com/office/drawing/2014/main" id="{6F168490-3A08-4720-BB94-2552B6F09EA3}"/>
                </a:ext>
              </a:extLst>
            </p:cNvPr>
            <p:cNvSpPr/>
            <p:nvPr>
              <p:custDataLst>
                <p:tags r:id="rId29"/>
              </p:custDataLst>
            </p:nvPr>
          </p:nvSpPr>
          <p:spPr>
            <a:xfrm rot="16200000">
              <a:off x="7060391" y="3328454"/>
              <a:ext cx="1627648" cy="510176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</p:spPr>
          <p:txBody>
            <a:bodyPr lIns="0" tIns="50729" rIns="0" bIns="50729" rtlCol="0" anchor="ctr"/>
            <a:lstStyle/>
            <a:p>
              <a:pPr defTabSz="1014582">
                <a:defRPr/>
              </a:pPr>
              <a:r>
                <a:rPr lang="en-US" sz="1998" kern="0">
                  <a:solidFill>
                    <a:srgbClr val="B9B8BB"/>
                  </a:solidFill>
                  <a:latin typeface="Ebrima" panose="02000000000000000000" pitchFamily="2" charset="0"/>
                  <a:ea typeface="Ebrima" panose="02000000000000000000" pitchFamily="2" charset="0"/>
                  <a:cs typeface="Ebrima" panose="02000000000000000000" pitchFamily="2" charset="0"/>
                </a:rPr>
                <a:t>Insider threats</a:t>
              </a:r>
              <a:endParaRPr lang="en-US" sz="2220" kern="0">
                <a:solidFill>
                  <a:srgbClr val="B9B8BB"/>
                </a:solidFill>
                <a:latin typeface="Ebrima" panose="02000000000000000000" pitchFamily="2" charset="0"/>
                <a:ea typeface="Ebrima" panose="02000000000000000000" pitchFamily="2" charset="0"/>
                <a:cs typeface="Ebrima" panose="02000000000000000000" pitchFamily="2" charset="0"/>
              </a:endParaRPr>
            </a:p>
          </p:txBody>
        </p:sp>
        <p:grpSp>
          <p:nvGrpSpPr>
            <p:cNvPr id="35" name="Group 81">
              <a:extLst>
                <a:ext uri="{FF2B5EF4-FFF2-40B4-BE49-F238E27FC236}">
                  <a16:creationId xmlns:a16="http://schemas.microsoft.com/office/drawing/2014/main" id="{1B8816E5-F350-492A-B15D-FED95EC38439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3434709" y="3821186"/>
              <a:ext cx="248841" cy="244970"/>
              <a:chOff x="3342835" y="4059235"/>
              <a:chExt cx="400931" cy="394580"/>
            </a:xfrm>
          </p:grpSpPr>
          <p:sp>
            <p:nvSpPr>
              <p:cNvPr id="89" name="Oval 122">
                <a:extLst>
                  <a:ext uri="{FF2B5EF4-FFF2-40B4-BE49-F238E27FC236}">
                    <a16:creationId xmlns:a16="http://schemas.microsoft.com/office/drawing/2014/main" id="{A7C1D0A2-CDC4-4F84-ABA4-18713888E73C}"/>
                  </a:ext>
                </a:extLst>
              </p:cNvPr>
              <p:cNvSpPr/>
              <p:nvPr/>
            </p:nvSpPr>
            <p:spPr>
              <a:xfrm>
                <a:off x="3370971" y="4085596"/>
                <a:ext cx="345299" cy="342642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507523">
                  <a:defRPr/>
                </a:pPr>
                <a:endParaRPr lang="en-US" sz="1776">
                  <a:solidFill>
                    <a:prstClr val="white"/>
                  </a:solidFill>
                  <a:latin typeface="Ebrima" panose="02000000000000000000" pitchFamily="2" charset="0"/>
                  <a:ea typeface="Ebrima" panose="02000000000000000000" pitchFamily="2" charset="0"/>
                  <a:cs typeface="Ebrima" panose="02000000000000000000" pitchFamily="2" charset="0"/>
                </a:endParaRPr>
              </a:p>
            </p:txBody>
          </p:sp>
          <p:sp>
            <p:nvSpPr>
              <p:cNvPr id="90" name="Oval 123">
                <a:extLst>
                  <a:ext uri="{FF2B5EF4-FFF2-40B4-BE49-F238E27FC236}">
                    <a16:creationId xmlns:a16="http://schemas.microsoft.com/office/drawing/2014/main" id="{D9F1BD54-B5FD-4E2E-9850-4EFE86F0D610}"/>
                  </a:ext>
                </a:extLst>
              </p:cNvPr>
              <p:cNvSpPr/>
              <p:nvPr/>
            </p:nvSpPr>
            <p:spPr>
              <a:xfrm>
                <a:off x="3455377" y="4169985"/>
                <a:ext cx="176485" cy="173878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507523">
                  <a:defRPr/>
                </a:pPr>
                <a:endParaRPr lang="en-US" sz="1776">
                  <a:solidFill>
                    <a:prstClr val="white"/>
                  </a:solidFill>
                  <a:latin typeface="Ebrima" panose="02000000000000000000" pitchFamily="2" charset="0"/>
                  <a:ea typeface="Ebrima" panose="02000000000000000000" pitchFamily="2" charset="0"/>
                  <a:cs typeface="Ebrima" panose="02000000000000000000" pitchFamily="2" charset="0"/>
                </a:endParaRPr>
              </a:p>
            </p:txBody>
          </p:sp>
          <p:grpSp>
            <p:nvGrpSpPr>
              <p:cNvPr id="91" name="Group 108">
                <a:extLst>
                  <a:ext uri="{FF2B5EF4-FFF2-40B4-BE49-F238E27FC236}">
                    <a16:creationId xmlns:a16="http://schemas.microsoft.com/office/drawing/2014/main" id="{09CB58AF-A462-4B45-865A-7112A7EB5551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3483380" y="4059235"/>
                <a:ext cx="119840" cy="394580"/>
                <a:chOff x="3411942" y="4006410"/>
                <a:chExt cx="119840" cy="394580"/>
              </a:xfrm>
            </p:grpSpPr>
            <p:sp>
              <p:nvSpPr>
                <p:cNvPr id="98" name="Trapezoid 131">
                  <a:extLst>
                    <a:ext uri="{FF2B5EF4-FFF2-40B4-BE49-F238E27FC236}">
                      <a16:creationId xmlns:a16="http://schemas.microsoft.com/office/drawing/2014/main" id="{147EDAF7-06F0-4513-8D7C-3D624C70F58D}"/>
                    </a:ext>
                  </a:extLst>
                </p:cNvPr>
                <p:cNvSpPr/>
                <p:nvPr/>
              </p:nvSpPr>
              <p:spPr>
                <a:xfrm>
                  <a:off x="3412074" y="4007207"/>
                  <a:ext cx="120215" cy="61369"/>
                </a:xfrm>
                <a:prstGeom prst="trapezoid">
                  <a:avLst/>
                </a:prstGeom>
                <a:solidFill>
                  <a:schemeClr val="accent1"/>
                </a:solidFill>
                <a:ln w="19050" cap="rnd" cmpd="sng">
                  <a:solidFill>
                    <a:schemeClr val="accent1"/>
                  </a:solidFill>
                  <a:round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 defTabSz="507523">
                    <a:defRPr/>
                  </a:pPr>
                  <a:endParaRPr lang="en-US" sz="1776">
                    <a:solidFill>
                      <a:prstClr val="white"/>
                    </a:solidFill>
                    <a:latin typeface="Ebrima" panose="02000000000000000000" pitchFamily="2" charset="0"/>
                    <a:ea typeface="Ebrima" panose="02000000000000000000" pitchFamily="2" charset="0"/>
                    <a:cs typeface="Ebrima" panose="02000000000000000000" pitchFamily="2" charset="0"/>
                  </a:endParaRPr>
                </a:p>
              </p:txBody>
            </p:sp>
            <p:sp>
              <p:nvSpPr>
                <p:cNvPr id="99" name="Trapezoid 132">
                  <a:extLst>
                    <a:ext uri="{FF2B5EF4-FFF2-40B4-BE49-F238E27FC236}">
                      <a16:creationId xmlns:a16="http://schemas.microsoft.com/office/drawing/2014/main" id="{6FC329EF-6295-42DB-B0D9-E2F6BB0E7E9B}"/>
                    </a:ext>
                  </a:extLst>
                </p:cNvPr>
                <p:cNvSpPr/>
                <p:nvPr/>
              </p:nvSpPr>
              <p:spPr>
                <a:xfrm flipV="1">
                  <a:off x="3412074" y="4339621"/>
                  <a:ext cx="120215" cy="61369"/>
                </a:xfrm>
                <a:prstGeom prst="trapezoid">
                  <a:avLst/>
                </a:prstGeom>
                <a:solidFill>
                  <a:schemeClr val="accent1"/>
                </a:solidFill>
                <a:ln w="19050" cap="rnd" cmpd="sng">
                  <a:solidFill>
                    <a:schemeClr val="accent1"/>
                  </a:solidFill>
                  <a:round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 defTabSz="507523">
                    <a:defRPr/>
                  </a:pPr>
                  <a:endParaRPr lang="en-US" sz="1776">
                    <a:solidFill>
                      <a:prstClr val="white"/>
                    </a:solidFill>
                    <a:latin typeface="Ebrima" panose="02000000000000000000" pitchFamily="2" charset="0"/>
                    <a:ea typeface="Ebrima" panose="02000000000000000000" pitchFamily="2" charset="0"/>
                    <a:cs typeface="Ebrima" panose="02000000000000000000" pitchFamily="2" charset="0"/>
                  </a:endParaRPr>
                </a:p>
              </p:txBody>
            </p:sp>
          </p:grpSp>
          <p:grpSp>
            <p:nvGrpSpPr>
              <p:cNvPr id="92" name="Group 109">
                <a:extLst>
                  <a:ext uri="{FF2B5EF4-FFF2-40B4-BE49-F238E27FC236}">
                    <a16:creationId xmlns:a16="http://schemas.microsoft.com/office/drawing/2014/main" id="{412C118D-5EAF-4B95-A3C7-CFBC44E3AE6C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 rot="1800000">
                <a:off x="3342835" y="4196605"/>
                <a:ext cx="400931" cy="119841"/>
                <a:chOff x="3266635" y="4142194"/>
                <a:chExt cx="400931" cy="119841"/>
              </a:xfrm>
            </p:grpSpPr>
            <p:sp>
              <p:nvSpPr>
                <p:cNvPr id="96" name="Trapezoid 129">
                  <a:extLst>
                    <a:ext uri="{FF2B5EF4-FFF2-40B4-BE49-F238E27FC236}">
                      <a16:creationId xmlns:a16="http://schemas.microsoft.com/office/drawing/2014/main" id="{AEA55E4E-DD29-4A62-AB1E-A8EE2D040A6E}"/>
                    </a:ext>
                  </a:extLst>
                </p:cNvPr>
                <p:cNvSpPr/>
                <p:nvPr/>
              </p:nvSpPr>
              <p:spPr>
                <a:xfrm rot="5400000" flipV="1">
                  <a:off x="3236339" y="4170002"/>
                  <a:ext cx="115067" cy="61386"/>
                </a:xfrm>
                <a:prstGeom prst="trapezoid">
                  <a:avLst/>
                </a:prstGeom>
                <a:solidFill>
                  <a:schemeClr val="accent1"/>
                </a:solidFill>
                <a:ln w="19050" cap="rnd" cmpd="sng">
                  <a:solidFill>
                    <a:schemeClr val="accent1"/>
                  </a:solidFill>
                  <a:round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 defTabSz="507523">
                    <a:defRPr/>
                  </a:pPr>
                  <a:endParaRPr lang="en-US" sz="1776">
                    <a:solidFill>
                      <a:prstClr val="white"/>
                    </a:solidFill>
                    <a:latin typeface="Ebrima" panose="02000000000000000000" pitchFamily="2" charset="0"/>
                    <a:ea typeface="Ebrima" panose="02000000000000000000" pitchFamily="2" charset="0"/>
                    <a:cs typeface="Ebrima" panose="02000000000000000000" pitchFamily="2" charset="0"/>
                  </a:endParaRPr>
                </a:p>
              </p:txBody>
            </p:sp>
            <p:sp>
              <p:nvSpPr>
                <p:cNvPr id="97" name="Trapezoid 130">
                  <a:extLst>
                    <a:ext uri="{FF2B5EF4-FFF2-40B4-BE49-F238E27FC236}">
                      <a16:creationId xmlns:a16="http://schemas.microsoft.com/office/drawing/2014/main" id="{40754D12-7B81-4D2D-BD8C-B6CCA7CAB67D}"/>
                    </a:ext>
                  </a:extLst>
                </p:cNvPr>
                <p:cNvSpPr/>
                <p:nvPr/>
              </p:nvSpPr>
              <p:spPr>
                <a:xfrm rot="16200000" flipH="1" flipV="1">
                  <a:off x="3578975" y="4170063"/>
                  <a:ext cx="115065" cy="61386"/>
                </a:xfrm>
                <a:prstGeom prst="trapezoid">
                  <a:avLst/>
                </a:prstGeom>
                <a:solidFill>
                  <a:schemeClr val="accent1"/>
                </a:solidFill>
                <a:ln w="19050" cap="rnd" cmpd="sng">
                  <a:solidFill>
                    <a:schemeClr val="accent1"/>
                  </a:solidFill>
                  <a:round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 defTabSz="507523">
                    <a:defRPr/>
                  </a:pPr>
                  <a:endParaRPr lang="en-US" sz="1776">
                    <a:solidFill>
                      <a:prstClr val="white"/>
                    </a:solidFill>
                    <a:latin typeface="Ebrima" panose="02000000000000000000" pitchFamily="2" charset="0"/>
                    <a:ea typeface="Ebrima" panose="02000000000000000000" pitchFamily="2" charset="0"/>
                    <a:cs typeface="Ebrima" panose="02000000000000000000" pitchFamily="2" charset="0"/>
                  </a:endParaRPr>
                </a:p>
              </p:txBody>
            </p:sp>
          </p:grpSp>
          <p:grpSp>
            <p:nvGrpSpPr>
              <p:cNvPr id="93" name="Group 110">
                <a:extLst>
                  <a:ext uri="{FF2B5EF4-FFF2-40B4-BE49-F238E27FC236}">
                    <a16:creationId xmlns:a16="http://schemas.microsoft.com/office/drawing/2014/main" id="{27866D12-0473-4013-8575-BC3272FDB125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 rot="19800000" flipH="1">
                <a:off x="3342835" y="4196605"/>
                <a:ext cx="400931" cy="119841"/>
                <a:chOff x="3266635" y="4142194"/>
                <a:chExt cx="400931" cy="119841"/>
              </a:xfrm>
            </p:grpSpPr>
            <p:sp>
              <p:nvSpPr>
                <p:cNvPr id="94" name="Trapezoid 127">
                  <a:extLst>
                    <a:ext uri="{FF2B5EF4-FFF2-40B4-BE49-F238E27FC236}">
                      <a16:creationId xmlns:a16="http://schemas.microsoft.com/office/drawing/2014/main" id="{CC44440D-4C0A-4553-AE6E-8DF569D712CA}"/>
                    </a:ext>
                  </a:extLst>
                </p:cNvPr>
                <p:cNvSpPr/>
                <p:nvPr/>
              </p:nvSpPr>
              <p:spPr>
                <a:xfrm rot="5400000" flipV="1">
                  <a:off x="3239281" y="4171257"/>
                  <a:ext cx="115065" cy="61386"/>
                </a:xfrm>
                <a:prstGeom prst="trapezoid">
                  <a:avLst/>
                </a:prstGeom>
                <a:solidFill>
                  <a:schemeClr val="accent1"/>
                </a:solidFill>
                <a:ln w="19050" cap="rnd" cmpd="sng">
                  <a:solidFill>
                    <a:schemeClr val="accent1"/>
                  </a:solidFill>
                  <a:round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 defTabSz="507523">
                    <a:defRPr/>
                  </a:pPr>
                  <a:endParaRPr lang="en-US" sz="1776">
                    <a:solidFill>
                      <a:prstClr val="white"/>
                    </a:solidFill>
                    <a:latin typeface="Ebrima" panose="02000000000000000000" pitchFamily="2" charset="0"/>
                    <a:ea typeface="Ebrima" panose="02000000000000000000" pitchFamily="2" charset="0"/>
                    <a:cs typeface="Ebrima" panose="02000000000000000000" pitchFamily="2" charset="0"/>
                  </a:endParaRPr>
                </a:p>
              </p:txBody>
            </p:sp>
            <p:sp>
              <p:nvSpPr>
                <p:cNvPr id="95" name="Trapezoid 128">
                  <a:extLst>
                    <a:ext uri="{FF2B5EF4-FFF2-40B4-BE49-F238E27FC236}">
                      <a16:creationId xmlns:a16="http://schemas.microsoft.com/office/drawing/2014/main" id="{A95F9995-849B-4FBE-BC0F-EA21B6C61533}"/>
                    </a:ext>
                  </a:extLst>
                </p:cNvPr>
                <p:cNvSpPr/>
                <p:nvPr/>
              </p:nvSpPr>
              <p:spPr>
                <a:xfrm rot="16200000" flipH="1" flipV="1">
                  <a:off x="3581916" y="4171318"/>
                  <a:ext cx="115067" cy="61386"/>
                </a:xfrm>
                <a:prstGeom prst="trapezoid">
                  <a:avLst/>
                </a:prstGeom>
                <a:solidFill>
                  <a:schemeClr val="accent1"/>
                </a:solidFill>
                <a:ln w="19050" cap="rnd" cmpd="sng">
                  <a:solidFill>
                    <a:schemeClr val="accent1"/>
                  </a:solidFill>
                  <a:round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 defTabSz="507523">
                    <a:defRPr/>
                  </a:pPr>
                  <a:endParaRPr lang="en-US" sz="1776">
                    <a:solidFill>
                      <a:prstClr val="white"/>
                    </a:solidFill>
                    <a:latin typeface="Ebrima" panose="02000000000000000000" pitchFamily="2" charset="0"/>
                    <a:ea typeface="Ebrima" panose="02000000000000000000" pitchFamily="2" charset="0"/>
                    <a:cs typeface="Ebrima" panose="02000000000000000000" pitchFamily="2" charset="0"/>
                  </a:endParaRPr>
                </a:p>
              </p:txBody>
            </p:sp>
          </p:grpSp>
        </p:grpSp>
        <p:grpSp>
          <p:nvGrpSpPr>
            <p:cNvPr id="36" name="Group 82">
              <a:extLst>
                <a:ext uri="{FF2B5EF4-FFF2-40B4-BE49-F238E27FC236}">
                  <a16:creationId xmlns:a16="http://schemas.microsoft.com/office/drawing/2014/main" id="{01013DC7-1860-41EE-AC5A-A6A7BB25A975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3600119" y="3613719"/>
              <a:ext cx="249386" cy="244970"/>
              <a:chOff x="3341957" y="4059235"/>
              <a:chExt cx="401809" cy="394580"/>
            </a:xfrm>
          </p:grpSpPr>
          <p:sp>
            <p:nvSpPr>
              <p:cNvPr id="78" name="Oval 111">
                <a:extLst>
                  <a:ext uri="{FF2B5EF4-FFF2-40B4-BE49-F238E27FC236}">
                    <a16:creationId xmlns:a16="http://schemas.microsoft.com/office/drawing/2014/main" id="{88ABAF70-7D4A-4508-8ECC-344C32A95CB7}"/>
                  </a:ext>
                </a:extLst>
              </p:cNvPr>
              <p:cNvSpPr/>
              <p:nvPr/>
            </p:nvSpPr>
            <p:spPr>
              <a:xfrm>
                <a:off x="3372151" y="4084805"/>
                <a:ext cx="342741" cy="342642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507523">
                  <a:defRPr/>
                </a:pPr>
                <a:endParaRPr lang="en-US" sz="1776">
                  <a:solidFill>
                    <a:prstClr val="white"/>
                  </a:solidFill>
                  <a:latin typeface="Ebrima" panose="02000000000000000000" pitchFamily="2" charset="0"/>
                  <a:ea typeface="Ebrima" panose="02000000000000000000" pitchFamily="2" charset="0"/>
                  <a:cs typeface="Ebrima" panose="02000000000000000000" pitchFamily="2" charset="0"/>
                </a:endParaRPr>
              </a:p>
            </p:txBody>
          </p:sp>
          <p:sp>
            <p:nvSpPr>
              <p:cNvPr id="79" name="Oval 112">
                <a:extLst>
                  <a:ext uri="{FF2B5EF4-FFF2-40B4-BE49-F238E27FC236}">
                    <a16:creationId xmlns:a16="http://schemas.microsoft.com/office/drawing/2014/main" id="{10C9A360-5576-47AC-B72E-5706F7A0C532}"/>
                  </a:ext>
                </a:extLst>
              </p:cNvPr>
              <p:cNvSpPr/>
              <p:nvPr/>
            </p:nvSpPr>
            <p:spPr>
              <a:xfrm>
                <a:off x="3456556" y="4169187"/>
                <a:ext cx="173928" cy="173878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507523">
                  <a:defRPr/>
                </a:pPr>
                <a:endParaRPr lang="en-US" sz="1776">
                  <a:solidFill>
                    <a:prstClr val="white"/>
                  </a:solidFill>
                  <a:latin typeface="Ebrima" panose="02000000000000000000" pitchFamily="2" charset="0"/>
                  <a:ea typeface="Ebrima" panose="02000000000000000000" pitchFamily="2" charset="0"/>
                  <a:cs typeface="Ebrima" panose="02000000000000000000" pitchFamily="2" charset="0"/>
                </a:endParaRPr>
              </a:p>
            </p:txBody>
          </p:sp>
          <p:grpSp>
            <p:nvGrpSpPr>
              <p:cNvPr id="80" name="Group 97">
                <a:extLst>
                  <a:ext uri="{FF2B5EF4-FFF2-40B4-BE49-F238E27FC236}">
                    <a16:creationId xmlns:a16="http://schemas.microsoft.com/office/drawing/2014/main" id="{0DA5A344-0485-4504-AC65-EB7F2E533379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3483380" y="4059235"/>
                <a:ext cx="119840" cy="394580"/>
                <a:chOff x="3411942" y="4006410"/>
                <a:chExt cx="119840" cy="394580"/>
              </a:xfrm>
            </p:grpSpPr>
            <p:sp>
              <p:nvSpPr>
                <p:cNvPr id="87" name="Trapezoid 120">
                  <a:extLst>
                    <a:ext uri="{FF2B5EF4-FFF2-40B4-BE49-F238E27FC236}">
                      <a16:creationId xmlns:a16="http://schemas.microsoft.com/office/drawing/2014/main" id="{8BB296B0-4E21-42D6-AA88-05BA60A42626}"/>
                    </a:ext>
                  </a:extLst>
                </p:cNvPr>
                <p:cNvSpPr/>
                <p:nvPr/>
              </p:nvSpPr>
              <p:spPr>
                <a:xfrm>
                  <a:off x="3415812" y="4006410"/>
                  <a:ext cx="115100" cy="61369"/>
                </a:xfrm>
                <a:prstGeom prst="trapezoid">
                  <a:avLst/>
                </a:prstGeom>
                <a:solidFill>
                  <a:schemeClr val="accent1"/>
                </a:solidFill>
                <a:ln w="19050" cap="rnd" cmpd="sng">
                  <a:solidFill>
                    <a:schemeClr val="accent1"/>
                  </a:solidFill>
                  <a:round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 defTabSz="507523">
                    <a:defRPr/>
                  </a:pPr>
                  <a:endParaRPr lang="en-US" sz="1776">
                    <a:solidFill>
                      <a:prstClr val="white"/>
                    </a:solidFill>
                    <a:latin typeface="Ebrima" panose="02000000000000000000" pitchFamily="2" charset="0"/>
                    <a:ea typeface="Ebrima" panose="02000000000000000000" pitchFamily="2" charset="0"/>
                    <a:cs typeface="Ebrima" panose="02000000000000000000" pitchFamily="2" charset="0"/>
                  </a:endParaRPr>
                </a:p>
              </p:txBody>
            </p:sp>
            <p:sp>
              <p:nvSpPr>
                <p:cNvPr id="88" name="Trapezoid 121">
                  <a:extLst>
                    <a:ext uri="{FF2B5EF4-FFF2-40B4-BE49-F238E27FC236}">
                      <a16:creationId xmlns:a16="http://schemas.microsoft.com/office/drawing/2014/main" id="{8170C4D8-FAB7-454F-892D-A6E86F8E5151}"/>
                    </a:ext>
                  </a:extLst>
                </p:cNvPr>
                <p:cNvSpPr/>
                <p:nvPr/>
              </p:nvSpPr>
              <p:spPr>
                <a:xfrm flipV="1">
                  <a:off x="3415812" y="4338824"/>
                  <a:ext cx="115100" cy="61369"/>
                </a:xfrm>
                <a:prstGeom prst="trapezoid">
                  <a:avLst/>
                </a:prstGeom>
                <a:solidFill>
                  <a:schemeClr val="accent1"/>
                </a:solidFill>
                <a:ln w="19050" cap="rnd" cmpd="sng">
                  <a:solidFill>
                    <a:schemeClr val="accent1"/>
                  </a:solidFill>
                  <a:round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 defTabSz="507523">
                    <a:defRPr/>
                  </a:pPr>
                  <a:endParaRPr lang="en-US" sz="1776">
                    <a:solidFill>
                      <a:prstClr val="white"/>
                    </a:solidFill>
                    <a:latin typeface="Ebrima" panose="02000000000000000000" pitchFamily="2" charset="0"/>
                    <a:ea typeface="Ebrima" panose="02000000000000000000" pitchFamily="2" charset="0"/>
                    <a:cs typeface="Ebrima" panose="02000000000000000000" pitchFamily="2" charset="0"/>
                  </a:endParaRPr>
                </a:p>
              </p:txBody>
            </p:sp>
          </p:grpSp>
          <p:grpSp>
            <p:nvGrpSpPr>
              <p:cNvPr id="81" name="Group 98">
                <a:extLst>
                  <a:ext uri="{FF2B5EF4-FFF2-40B4-BE49-F238E27FC236}">
                    <a16:creationId xmlns:a16="http://schemas.microsoft.com/office/drawing/2014/main" id="{C4F5B1F1-9565-4210-809C-26D78A24B558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 rot="1800000">
                <a:off x="3341957" y="4196870"/>
                <a:ext cx="398155" cy="115339"/>
                <a:chOff x="3265068" y="4143858"/>
                <a:chExt cx="398155" cy="115339"/>
              </a:xfrm>
            </p:grpSpPr>
            <p:sp>
              <p:nvSpPr>
                <p:cNvPr id="85" name="Trapezoid 118">
                  <a:extLst>
                    <a:ext uri="{FF2B5EF4-FFF2-40B4-BE49-F238E27FC236}">
                      <a16:creationId xmlns:a16="http://schemas.microsoft.com/office/drawing/2014/main" id="{2FD050CD-2155-4941-8742-67878ECEF633}"/>
                    </a:ext>
                  </a:extLst>
                </p:cNvPr>
                <p:cNvSpPr/>
                <p:nvPr/>
              </p:nvSpPr>
              <p:spPr>
                <a:xfrm rot="5400000" flipV="1">
                  <a:off x="3238227" y="4170971"/>
                  <a:ext cx="115067" cy="61385"/>
                </a:xfrm>
                <a:prstGeom prst="trapezoid">
                  <a:avLst/>
                </a:prstGeom>
                <a:solidFill>
                  <a:schemeClr val="accent1"/>
                </a:solidFill>
                <a:ln w="19050" cap="rnd" cmpd="sng">
                  <a:solidFill>
                    <a:schemeClr val="accent1"/>
                  </a:solidFill>
                  <a:round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 defTabSz="507523">
                    <a:defRPr/>
                  </a:pPr>
                  <a:endParaRPr lang="en-US" sz="1776">
                    <a:solidFill>
                      <a:prstClr val="white"/>
                    </a:solidFill>
                    <a:latin typeface="Ebrima" panose="02000000000000000000" pitchFamily="2" charset="0"/>
                    <a:ea typeface="Ebrima" panose="02000000000000000000" pitchFamily="2" charset="0"/>
                    <a:cs typeface="Ebrima" panose="02000000000000000000" pitchFamily="2" charset="0"/>
                  </a:endParaRPr>
                </a:p>
              </p:txBody>
            </p:sp>
            <p:sp>
              <p:nvSpPr>
                <p:cNvPr id="86" name="Trapezoid 119">
                  <a:extLst>
                    <a:ext uri="{FF2B5EF4-FFF2-40B4-BE49-F238E27FC236}">
                      <a16:creationId xmlns:a16="http://schemas.microsoft.com/office/drawing/2014/main" id="{7AAB98D6-95C6-4DC3-AA98-D60812CB867D}"/>
                    </a:ext>
                  </a:extLst>
                </p:cNvPr>
                <p:cNvSpPr/>
                <p:nvPr/>
              </p:nvSpPr>
              <p:spPr>
                <a:xfrm rot="16200000" flipH="1" flipV="1">
                  <a:off x="3576275" y="4171978"/>
                  <a:ext cx="115067" cy="58828"/>
                </a:xfrm>
                <a:prstGeom prst="trapezoid">
                  <a:avLst/>
                </a:prstGeom>
                <a:solidFill>
                  <a:schemeClr val="accent1"/>
                </a:solidFill>
                <a:ln w="19050" cap="rnd" cmpd="sng">
                  <a:solidFill>
                    <a:schemeClr val="accent1"/>
                  </a:solidFill>
                  <a:round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 defTabSz="507523">
                    <a:defRPr/>
                  </a:pPr>
                  <a:endParaRPr lang="en-US" sz="1776">
                    <a:solidFill>
                      <a:prstClr val="white"/>
                    </a:solidFill>
                    <a:latin typeface="Ebrima" panose="02000000000000000000" pitchFamily="2" charset="0"/>
                    <a:ea typeface="Ebrima" panose="02000000000000000000" pitchFamily="2" charset="0"/>
                    <a:cs typeface="Ebrima" panose="02000000000000000000" pitchFamily="2" charset="0"/>
                  </a:endParaRPr>
                </a:p>
              </p:txBody>
            </p:sp>
          </p:grpSp>
          <p:grpSp>
            <p:nvGrpSpPr>
              <p:cNvPr id="82" name="Group 99">
                <a:extLst>
                  <a:ext uri="{FF2B5EF4-FFF2-40B4-BE49-F238E27FC236}">
                    <a16:creationId xmlns:a16="http://schemas.microsoft.com/office/drawing/2014/main" id="{5E07F301-EDF0-4FAF-B57E-E1BA5F2915FE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 rot="19800000" flipH="1">
                <a:off x="3342835" y="4196605"/>
                <a:ext cx="400931" cy="119841"/>
                <a:chOff x="3266635" y="4142194"/>
                <a:chExt cx="400931" cy="119841"/>
              </a:xfrm>
            </p:grpSpPr>
            <p:sp>
              <p:nvSpPr>
                <p:cNvPr id="83" name="Trapezoid 116">
                  <a:extLst>
                    <a:ext uri="{FF2B5EF4-FFF2-40B4-BE49-F238E27FC236}">
                      <a16:creationId xmlns:a16="http://schemas.microsoft.com/office/drawing/2014/main" id="{BC9ADAE4-52B8-4CAB-9443-F95671F5969B}"/>
                    </a:ext>
                  </a:extLst>
                </p:cNvPr>
                <p:cNvSpPr/>
                <p:nvPr/>
              </p:nvSpPr>
              <p:spPr>
                <a:xfrm rot="5400000" flipV="1">
                  <a:off x="3240073" y="4169877"/>
                  <a:ext cx="115067" cy="61386"/>
                </a:xfrm>
                <a:prstGeom prst="trapezoid">
                  <a:avLst/>
                </a:prstGeom>
                <a:solidFill>
                  <a:schemeClr val="accent1"/>
                </a:solidFill>
                <a:ln w="19050" cap="rnd" cmpd="sng">
                  <a:solidFill>
                    <a:schemeClr val="accent1"/>
                  </a:solidFill>
                  <a:round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 defTabSz="507523">
                    <a:defRPr/>
                  </a:pPr>
                  <a:endParaRPr lang="en-US" sz="1776">
                    <a:solidFill>
                      <a:prstClr val="white"/>
                    </a:solidFill>
                    <a:latin typeface="Ebrima" panose="02000000000000000000" pitchFamily="2" charset="0"/>
                    <a:ea typeface="Ebrima" panose="02000000000000000000" pitchFamily="2" charset="0"/>
                    <a:cs typeface="Ebrima" panose="02000000000000000000" pitchFamily="2" charset="0"/>
                  </a:endParaRPr>
                </a:p>
              </p:txBody>
            </p:sp>
            <p:sp>
              <p:nvSpPr>
                <p:cNvPr id="84" name="Trapezoid 117">
                  <a:extLst>
                    <a:ext uri="{FF2B5EF4-FFF2-40B4-BE49-F238E27FC236}">
                      <a16:creationId xmlns:a16="http://schemas.microsoft.com/office/drawing/2014/main" id="{2EFCD55F-DE2C-4900-8980-20AC5A24D624}"/>
                    </a:ext>
                  </a:extLst>
                </p:cNvPr>
                <p:cNvSpPr/>
                <p:nvPr/>
              </p:nvSpPr>
              <p:spPr>
                <a:xfrm rot="16200000" flipH="1" flipV="1">
                  <a:off x="3579216" y="4169001"/>
                  <a:ext cx="115067" cy="61386"/>
                </a:xfrm>
                <a:prstGeom prst="trapezoid">
                  <a:avLst/>
                </a:prstGeom>
                <a:solidFill>
                  <a:schemeClr val="accent1"/>
                </a:solidFill>
                <a:ln w="19050" cap="rnd" cmpd="sng">
                  <a:solidFill>
                    <a:schemeClr val="accent1"/>
                  </a:solidFill>
                  <a:round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 defTabSz="507523">
                    <a:defRPr/>
                  </a:pPr>
                  <a:endParaRPr lang="en-US" sz="1776">
                    <a:solidFill>
                      <a:prstClr val="white"/>
                    </a:solidFill>
                    <a:latin typeface="Ebrima" panose="02000000000000000000" pitchFamily="2" charset="0"/>
                    <a:ea typeface="Ebrima" panose="02000000000000000000" pitchFamily="2" charset="0"/>
                    <a:cs typeface="Ebrima" panose="02000000000000000000" pitchFamily="2" charset="0"/>
                  </a:endParaRPr>
                </a:p>
              </p:txBody>
            </p:sp>
          </p:grpSp>
        </p:grpSp>
        <p:grpSp>
          <p:nvGrpSpPr>
            <p:cNvPr id="37" name="Group 83">
              <a:extLst>
                <a:ext uri="{FF2B5EF4-FFF2-40B4-BE49-F238E27FC236}">
                  <a16:creationId xmlns:a16="http://schemas.microsoft.com/office/drawing/2014/main" id="{65BA08C7-E5FC-4D85-A164-3282D754B9AD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3693838" y="3872393"/>
              <a:ext cx="186958" cy="184049"/>
              <a:chOff x="3342835" y="4059235"/>
              <a:chExt cx="400931" cy="394580"/>
            </a:xfrm>
          </p:grpSpPr>
          <p:sp>
            <p:nvSpPr>
              <p:cNvPr id="67" name="Oval 100">
                <a:extLst>
                  <a:ext uri="{FF2B5EF4-FFF2-40B4-BE49-F238E27FC236}">
                    <a16:creationId xmlns:a16="http://schemas.microsoft.com/office/drawing/2014/main" id="{58BFD4E0-AEC8-47CD-8A23-2C2AE054AF3E}"/>
                  </a:ext>
                </a:extLst>
              </p:cNvPr>
              <p:cNvSpPr/>
              <p:nvPr/>
            </p:nvSpPr>
            <p:spPr>
              <a:xfrm>
                <a:off x="3369283" y="4083249"/>
                <a:ext cx="347248" cy="347149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507523">
                  <a:defRPr/>
                </a:pPr>
                <a:endParaRPr lang="en-US" sz="1776">
                  <a:solidFill>
                    <a:prstClr val="white"/>
                  </a:solidFill>
                  <a:latin typeface="Ebrima" panose="02000000000000000000" pitchFamily="2" charset="0"/>
                  <a:ea typeface="Ebrima" panose="02000000000000000000" pitchFamily="2" charset="0"/>
                  <a:cs typeface="Ebrima" panose="02000000000000000000" pitchFamily="2" charset="0"/>
                </a:endParaRPr>
              </a:p>
            </p:txBody>
          </p:sp>
          <p:sp>
            <p:nvSpPr>
              <p:cNvPr id="68" name="Oval 101">
                <a:extLst>
                  <a:ext uri="{FF2B5EF4-FFF2-40B4-BE49-F238E27FC236}">
                    <a16:creationId xmlns:a16="http://schemas.microsoft.com/office/drawing/2014/main" id="{096FBE8D-B0D9-4290-95B1-EDCDF3527B26}"/>
                  </a:ext>
                </a:extLst>
              </p:cNvPr>
              <p:cNvSpPr/>
              <p:nvPr/>
            </p:nvSpPr>
            <p:spPr>
              <a:xfrm>
                <a:off x="3454393" y="4168333"/>
                <a:ext cx="177028" cy="176977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507523">
                  <a:defRPr/>
                </a:pPr>
                <a:endParaRPr lang="en-US" sz="1776">
                  <a:solidFill>
                    <a:prstClr val="white"/>
                  </a:solidFill>
                  <a:latin typeface="Ebrima" panose="02000000000000000000" pitchFamily="2" charset="0"/>
                  <a:ea typeface="Ebrima" panose="02000000000000000000" pitchFamily="2" charset="0"/>
                  <a:cs typeface="Ebrima" panose="02000000000000000000" pitchFamily="2" charset="0"/>
                </a:endParaRPr>
              </a:p>
            </p:txBody>
          </p:sp>
          <p:grpSp>
            <p:nvGrpSpPr>
              <p:cNvPr id="69" name="Group 86">
                <a:extLst>
                  <a:ext uri="{FF2B5EF4-FFF2-40B4-BE49-F238E27FC236}">
                    <a16:creationId xmlns:a16="http://schemas.microsoft.com/office/drawing/2014/main" id="{9C9B60AC-F545-4E62-AD8A-60C2AB9C9BB5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3483380" y="4059235"/>
                <a:ext cx="119840" cy="394580"/>
                <a:chOff x="3411942" y="4006410"/>
                <a:chExt cx="119840" cy="394580"/>
              </a:xfrm>
            </p:grpSpPr>
            <p:sp>
              <p:nvSpPr>
                <p:cNvPr id="76" name="Trapezoid 109">
                  <a:extLst>
                    <a:ext uri="{FF2B5EF4-FFF2-40B4-BE49-F238E27FC236}">
                      <a16:creationId xmlns:a16="http://schemas.microsoft.com/office/drawing/2014/main" id="{BEE1564F-B9C5-4AEA-8DE4-54A6FDEF0E36}"/>
                    </a:ext>
                  </a:extLst>
                </p:cNvPr>
                <p:cNvSpPr/>
                <p:nvPr/>
              </p:nvSpPr>
              <p:spPr>
                <a:xfrm>
                  <a:off x="3406787" y="4006599"/>
                  <a:ext cx="125962" cy="61262"/>
                </a:xfrm>
                <a:prstGeom prst="trapezoid">
                  <a:avLst/>
                </a:prstGeom>
                <a:solidFill>
                  <a:schemeClr val="accent1"/>
                </a:solidFill>
                <a:ln w="19050" cap="rnd" cmpd="sng">
                  <a:solidFill>
                    <a:schemeClr val="accent1"/>
                  </a:solidFill>
                  <a:round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 defTabSz="507523">
                    <a:defRPr/>
                  </a:pPr>
                  <a:endParaRPr lang="en-US" sz="1776">
                    <a:solidFill>
                      <a:prstClr val="white"/>
                    </a:solidFill>
                    <a:latin typeface="Ebrima" panose="02000000000000000000" pitchFamily="2" charset="0"/>
                    <a:ea typeface="Ebrima" panose="02000000000000000000" pitchFamily="2" charset="0"/>
                    <a:cs typeface="Ebrima" panose="02000000000000000000" pitchFamily="2" charset="0"/>
                  </a:endParaRPr>
                </a:p>
              </p:txBody>
            </p:sp>
            <p:sp>
              <p:nvSpPr>
                <p:cNvPr id="77" name="Trapezoid 110">
                  <a:extLst>
                    <a:ext uri="{FF2B5EF4-FFF2-40B4-BE49-F238E27FC236}">
                      <a16:creationId xmlns:a16="http://schemas.microsoft.com/office/drawing/2014/main" id="{BD7B95CF-72E3-4867-89B7-6F63A94924B1}"/>
                    </a:ext>
                  </a:extLst>
                </p:cNvPr>
                <p:cNvSpPr/>
                <p:nvPr/>
              </p:nvSpPr>
              <p:spPr>
                <a:xfrm flipV="1">
                  <a:off x="3406787" y="4340134"/>
                  <a:ext cx="125962" cy="61262"/>
                </a:xfrm>
                <a:prstGeom prst="trapezoid">
                  <a:avLst/>
                </a:prstGeom>
                <a:solidFill>
                  <a:schemeClr val="accent1"/>
                </a:solidFill>
                <a:ln w="19050" cap="rnd" cmpd="sng">
                  <a:solidFill>
                    <a:schemeClr val="accent1"/>
                  </a:solidFill>
                  <a:round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 defTabSz="507523">
                    <a:defRPr/>
                  </a:pPr>
                  <a:endParaRPr lang="en-US" sz="1776">
                    <a:solidFill>
                      <a:prstClr val="white"/>
                    </a:solidFill>
                    <a:latin typeface="Ebrima" panose="02000000000000000000" pitchFamily="2" charset="0"/>
                    <a:ea typeface="Ebrima" panose="02000000000000000000" pitchFamily="2" charset="0"/>
                    <a:cs typeface="Ebrima" panose="02000000000000000000" pitchFamily="2" charset="0"/>
                  </a:endParaRPr>
                </a:p>
              </p:txBody>
            </p:sp>
          </p:grpSp>
          <p:grpSp>
            <p:nvGrpSpPr>
              <p:cNvPr id="70" name="Group 87">
                <a:extLst>
                  <a:ext uri="{FF2B5EF4-FFF2-40B4-BE49-F238E27FC236}">
                    <a16:creationId xmlns:a16="http://schemas.microsoft.com/office/drawing/2014/main" id="{43DC8742-E81D-4086-9290-171B063897FF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 rot="1800000">
                <a:off x="3342835" y="4196605"/>
                <a:ext cx="400931" cy="119841"/>
                <a:chOff x="3266635" y="4142194"/>
                <a:chExt cx="400931" cy="119841"/>
              </a:xfrm>
            </p:grpSpPr>
            <p:sp>
              <p:nvSpPr>
                <p:cNvPr id="74" name="Trapezoid 107">
                  <a:extLst>
                    <a:ext uri="{FF2B5EF4-FFF2-40B4-BE49-F238E27FC236}">
                      <a16:creationId xmlns:a16="http://schemas.microsoft.com/office/drawing/2014/main" id="{7B356464-D0E0-4C82-9C5A-E70D89354AC0}"/>
                    </a:ext>
                  </a:extLst>
                </p:cNvPr>
                <p:cNvSpPr/>
                <p:nvPr/>
              </p:nvSpPr>
              <p:spPr>
                <a:xfrm rot="5400000" flipV="1">
                  <a:off x="3227867" y="4173344"/>
                  <a:ext cx="125927" cy="61279"/>
                </a:xfrm>
                <a:prstGeom prst="trapezoid">
                  <a:avLst/>
                </a:prstGeom>
                <a:solidFill>
                  <a:schemeClr val="accent1"/>
                </a:solidFill>
                <a:ln w="19050" cap="rnd" cmpd="sng">
                  <a:solidFill>
                    <a:schemeClr val="accent1"/>
                  </a:solidFill>
                  <a:round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 defTabSz="507523">
                    <a:defRPr/>
                  </a:pPr>
                  <a:endParaRPr lang="en-US" sz="1776">
                    <a:solidFill>
                      <a:prstClr val="white"/>
                    </a:solidFill>
                    <a:latin typeface="Ebrima" panose="02000000000000000000" pitchFamily="2" charset="0"/>
                    <a:ea typeface="Ebrima" panose="02000000000000000000" pitchFamily="2" charset="0"/>
                    <a:cs typeface="Ebrima" panose="02000000000000000000" pitchFamily="2" charset="0"/>
                  </a:endParaRPr>
                </a:p>
              </p:txBody>
            </p:sp>
            <p:sp>
              <p:nvSpPr>
                <p:cNvPr id="75" name="Trapezoid 108">
                  <a:extLst>
                    <a:ext uri="{FF2B5EF4-FFF2-40B4-BE49-F238E27FC236}">
                      <a16:creationId xmlns:a16="http://schemas.microsoft.com/office/drawing/2014/main" id="{D5C03866-807F-4EFA-A1CD-C3FAAB310546}"/>
                    </a:ext>
                  </a:extLst>
                </p:cNvPr>
                <p:cNvSpPr/>
                <p:nvPr/>
              </p:nvSpPr>
              <p:spPr>
                <a:xfrm rot="16200000" flipH="1" flipV="1">
                  <a:off x="3569477" y="4172668"/>
                  <a:ext cx="125927" cy="61279"/>
                </a:xfrm>
                <a:prstGeom prst="trapezoid">
                  <a:avLst/>
                </a:prstGeom>
                <a:solidFill>
                  <a:schemeClr val="accent1"/>
                </a:solidFill>
                <a:ln w="19050" cap="rnd" cmpd="sng">
                  <a:solidFill>
                    <a:schemeClr val="accent1"/>
                  </a:solidFill>
                  <a:round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 defTabSz="507523">
                    <a:defRPr/>
                  </a:pPr>
                  <a:endParaRPr lang="en-US" sz="1776">
                    <a:solidFill>
                      <a:prstClr val="white"/>
                    </a:solidFill>
                    <a:latin typeface="Ebrima" panose="02000000000000000000" pitchFamily="2" charset="0"/>
                    <a:ea typeface="Ebrima" panose="02000000000000000000" pitchFamily="2" charset="0"/>
                    <a:cs typeface="Ebrima" panose="02000000000000000000" pitchFamily="2" charset="0"/>
                  </a:endParaRPr>
                </a:p>
              </p:txBody>
            </p:sp>
          </p:grpSp>
          <p:grpSp>
            <p:nvGrpSpPr>
              <p:cNvPr id="71" name="Group 88">
                <a:extLst>
                  <a:ext uri="{FF2B5EF4-FFF2-40B4-BE49-F238E27FC236}">
                    <a16:creationId xmlns:a16="http://schemas.microsoft.com/office/drawing/2014/main" id="{0EB8D57A-A077-494E-8D18-17B8FB78F9ED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 rot="19800000" flipH="1">
                <a:off x="3342835" y="4196605"/>
                <a:ext cx="400931" cy="119841"/>
                <a:chOff x="3266635" y="4142194"/>
                <a:chExt cx="400931" cy="119841"/>
              </a:xfrm>
            </p:grpSpPr>
            <p:sp>
              <p:nvSpPr>
                <p:cNvPr id="72" name="Trapezoid 105">
                  <a:extLst>
                    <a:ext uri="{FF2B5EF4-FFF2-40B4-BE49-F238E27FC236}">
                      <a16:creationId xmlns:a16="http://schemas.microsoft.com/office/drawing/2014/main" id="{33163945-97E5-4D6D-88B6-7980FEC10E91}"/>
                    </a:ext>
                  </a:extLst>
                </p:cNvPr>
                <p:cNvSpPr/>
                <p:nvPr/>
              </p:nvSpPr>
              <p:spPr>
                <a:xfrm rot="5400000" flipV="1">
                  <a:off x="3234442" y="4169550"/>
                  <a:ext cx="125927" cy="61279"/>
                </a:xfrm>
                <a:prstGeom prst="trapezoid">
                  <a:avLst/>
                </a:prstGeom>
                <a:solidFill>
                  <a:schemeClr val="accent1"/>
                </a:solidFill>
                <a:ln w="19050" cap="rnd" cmpd="sng">
                  <a:solidFill>
                    <a:schemeClr val="accent1"/>
                  </a:solidFill>
                  <a:round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 defTabSz="507523">
                    <a:defRPr/>
                  </a:pPr>
                  <a:endParaRPr lang="en-US" sz="1776">
                    <a:solidFill>
                      <a:prstClr val="white"/>
                    </a:solidFill>
                    <a:latin typeface="Ebrima" panose="02000000000000000000" pitchFamily="2" charset="0"/>
                    <a:ea typeface="Ebrima" panose="02000000000000000000" pitchFamily="2" charset="0"/>
                    <a:cs typeface="Ebrima" panose="02000000000000000000" pitchFamily="2" charset="0"/>
                  </a:endParaRPr>
                </a:p>
              </p:txBody>
            </p:sp>
            <p:sp>
              <p:nvSpPr>
                <p:cNvPr id="73" name="Trapezoid 106">
                  <a:extLst>
                    <a:ext uri="{FF2B5EF4-FFF2-40B4-BE49-F238E27FC236}">
                      <a16:creationId xmlns:a16="http://schemas.microsoft.com/office/drawing/2014/main" id="{A5554C3F-663A-425D-B0BA-B3ADB5ABD9E2}"/>
                    </a:ext>
                  </a:extLst>
                </p:cNvPr>
                <p:cNvSpPr/>
                <p:nvPr/>
              </p:nvSpPr>
              <p:spPr>
                <a:xfrm rot="16200000" flipH="1" flipV="1">
                  <a:off x="3579001" y="4167172"/>
                  <a:ext cx="125927" cy="61279"/>
                </a:xfrm>
                <a:prstGeom prst="trapezoid">
                  <a:avLst/>
                </a:prstGeom>
                <a:solidFill>
                  <a:schemeClr val="accent1"/>
                </a:solidFill>
                <a:ln w="19050" cap="rnd" cmpd="sng">
                  <a:solidFill>
                    <a:schemeClr val="accent1"/>
                  </a:solidFill>
                  <a:round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 defTabSz="507523">
                    <a:defRPr/>
                  </a:pPr>
                  <a:endParaRPr lang="en-US" sz="1776">
                    <a:solidFill>
                      <a:prstClr val="white"/>
                    </a:solidFill>
                    <a:latin typeface="Ebrima" panose="02000000000000000000" pitchFamily="2" charset="0"/>
                    <a:ea typeface="Ebrima" panose="02000000000000000000" pitchFamily="2" charset="0"/>
                    <a:cs typeface="Ebrima" panose="02000000000000000000" pitchFamily="2" charset="0"/>
                  </a:endParaRPr>
                </a:p>
              </p:txBody>
            </p:sp>
          </p:grpSp>
        </p:grpSp>
        <p:grpSp>
          <p:nvGrpSpPr>
            <p:cNvPr id="38" name="Group 132">
              <a:extLst>
                <a:ext uri="{FF2B5EF4-FFF2-40B4-BE49-F238E27FC236}">
                  <a16:creationId xmlns:a16="http://schemas.microsoft.com/office/drawing/2014/main" id="{03E912C1-54D0-40FE-8B1F-17BB1DFEBEE1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80553" y="2307306"/>
              <a:ext cx="681038" cy="681038"/>
              <a:chOff x="3717247" y="1022302"/>
              <a:chExt cx="681026" cy="681025"/>
            </a:xfrm>
          </p:grpSpPr>
          <p:sp>
            <p:nvSpPr>
              <p:cNvPr id="64" name="Freeform 9">
                <a:extLst>
                  <a:ext uri="{FF2B5EF4-FFF2-40B4-BE49-F238E27FC236}">
                    <a16:creationId xmlns:a16="http://schemas.microsoft.com/office/drawing/2014/main" id="{4188E685-A0D6-430E-83EC-6FF076A8D72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17247" y="1022302"/>
                <a:ext cx="681026" cy="521460"/>
              </a:xfrm>
              <a:custGeom>
                <a:avLst/>
                <a:gdLst>
                  <a:gd name="T0" fmla="*/ 530890723 w 209"/>
                  <a:gd name="T1" fmla="*/ 1306491957 h 160"/>
                  <a:gd name="T2" fmla="*/ 637068867 w 209"/>
                  <a:gd name="T3" fmla="*/ 870994638 h 160"/>
                  <a:gd name="T4" fmla="*/ 679540125 w 209"/>
                  <a:gd name="T5" fmla="*/ 839130173 h 160"/>
                  <a:gd name="T6" fmla="*/ 711391939 w 209"/>
                  <a:gd name="T7" fmla="*/ 870994638 h 160"/>
                  <a:gd name="T8" fmla="*/ 796334455 w 209"/>
                  <a:gd name="T9" fmla="*/ 1402091871 h 160"/>
                  <a:gd name="T10" fmla="*/ 881276970 w 209"/>
                  <a:gd name="T11" fmla="*/ 594826163 h 160"/>
                  <a:gd name="T12" fmla="*/ 913132043 w 209"/>
                  <a:gd name="T13" fmla="*/ 562961698 h 160"/>
                  <a:gd name="T14" fmla="*/ 913132043 w 209"/>
                  <a:gd name="T15" fmla="*/ 562961698 h 160"/>
                  <a:gd name="T16" fmla="*/ 944983857 w 209"/>
                  <a:gd name="T17" fmla="*/ 605447651 h 160"/>
                  <a:gd name="T18" fmla="*/ 998074559 w 209"/>
                  <a:gd name="T19" fmla="*/ 1274627492 h 160"/>
                  <a:gd name="T20" fmla="*/ 1029926373 w 209"/>
                  <a:gd name="T21" fmla="*/ 902862362 h 160"/>
                  <a:gd name="T22" fmla="*/ 1072397631 w 209"/>
                  <a:gd name="T23" fmla="*/ 860373150 h 160"/>
                  <a:gd name="T24" fmla="*/ 1104252703 w 209"/>
                  <a:gd name="T25" fmla="*/ 902862362 h 160"/>
                  <a:gd name="T26" fmla="*/ 1136104517 w 209"/>
                  <a:gd name="T27" fmla="*/ 1412713359 h 160"/>
                  <a:gd name="T28" fmla="*/ 1274137735 w 209"/>
                  <a:gd name="T29" fmla="*/ 552336950 h 160"/>
                  <a:gd name="T30" fmla="*/ 1316608992 w 209"/>
                  <a:gd name="T31" fmla="*/ 520472485 h 160"/>
                  <a:gd name="T32" fmla="*/ 1348460806 w 209"/>
                  <a:gd name="T33" fmla="*/ 552336950 h 160"/>
                  <a:gd name="T34" fmla="*/ 1401551508 w 209"/>
                  <a:gd name="T35" fmla="*/ 1402091871 h 160"/>
                  <a:gd name="T36" fmla="*/ 1433403322 w 209"/>
                  <a:gd name="T37" fmla="*/ 860373150 h 160"/>
                  <a:gd name="T38" fmla="*/ 1465258395 w 209"/>
                  <a:gd name="T39" fmla="*/ 828508685 h 160"/>
                  <a:gd name="T40" fmla="*/ 1465258395 w 209"/>
                  <a:gd name="T41" fmla="*/ 828508685 h 160"/>
                  <a:gd name="T42" fmla="*/ 1507729653 w 209"/>
                  <a:gd name="T43" fmla="*/ 860373150 h 160"/>
                  <a:gd name="T44" fmla="*/ 1603288353 w 209"/>
                  <a:gd name="T45" fmla="*/ 1699503323 h 160"/>
                  <a:gd name="T46" fmla="*/ 1730702127 w 209"/>
                  <a:gd name="T47" fmla="*/ 701044306 h 160"/>
                  <a:gd name="T48" fmla="*/ 1773173385 w 209"/>
                  <a:gd name="T49" fmla="*/ 669179841 h 160"/>
                  <a:gd name="T50" fmla="*/ 1805028457 w 209"/>
                  <a:gd name="T51" fmla="*/ 711665794 h 160"/>
                  <a:gd name="T52" fmla="*/ 1868735344 w 209"/>
                  <a:gd name="T53" fmla="*/ 1295870469 h 160"/>
                  <a:gd name="T54" fmla="*/ 2147483647 w 209"/>
                  <a:gd name="T55" fmla="*/ 1295870469 h 160"/>
                  <a:gd name="T56" fmla="*/ 2147483647 w 209"/>
                  <a:gd name="T57" fmla="*/ 1104677160 h 160"/>
                  <a:gd name="T58" fmla="*/ 1114868888 w 209"/>
                  <a:gd name="T59" fmla="*/ 0 h 160"/>
                  <a:gd name="T60" fmla="*/ 0 w 209"/>
                  <a:gd name="T61" fmla="*/ 1104677160 h 160"/>
                  <a:gd name="T62" fmla="*/ 21235629 w 209"/>
                  <a:gd name="T63" fmla="*/ 1306491957 h 160"/>
                  <a:gd name="T64" fmla="*/ 530890723 w 209"/>
                  <a:gd name="T65" fmla="*/ 1306491957 h 160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w 209"/>
                  <a:gd name="T100" fmla="*/ 0 h 160"/>
                  <a:gd name="T101" fmla="*/ 209 w 209"/>
                  <a:gd name="T102" fmla="*/ 160 h 160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T99" t="T100" r="T101" b="T102"/>
                <a:pathLst>
                  <a:path w="209" h="160">
                    <a:moveTo>
                      <a:pt x="50" y="123"/>
                    </a:moveTo>
                    <a:cubicBezTo>
                      <a:pt x="60" y="82"/>
                      <a:pt x="60" y="82"/>
                      <a:pt x="60" y="82"/>
                    </a:cubicBezTo>
                    <a:cubicBezTo>
                      <a:pt x="61" y="80"/>
                      <a:pt x="62" y="79"/>
                      <a:pt x="64" y="79"/>
                    </a:cubicBezTo>
                    <a:cubicBezTo>
                      <a:pt x="65" y="79"/>
                      <a:pt x="67" y="80"/>
                      <a:pt x="67" y="82"/>
                    </a:cubicBezTo>
                    <a:cubicBezTo>
                      <a:pt x="75" y="132"/>
                      <a:pt x="75" y="132"/>
                      <a:pt x="75" y="132"/>
                    </a:cubicBezTo>
                    <a:cubicBezTo>
                      <a:pt x="83" y="56"/>
                      <a:pt x="83" y="56"/>
                      <a:pt x="83" y="56"/>
                    </a:cubicBezTo>
                    <a:cubicBezTo>
                      <a:pt x="83" y="55"/>
                      <a:pt x="84" y="53"/>
                      <a:pt x="86" y="53"/>
                    </a:cubicBezTo>
                    <a:cubicBezTo>
                      <a:pt x="86" y="53"/>
                      <a:pt x="86" y="53"/>
                      <a:pt x="86" y="53"/>
                    </a:cubicBezTo>
                    <a:cubicBezTo>
                      <a:pt x="88" y="53"/>
                      <a:pt x="89" y="55"/>
                      <a:pt x="89" y="57"/>
                    </a:cubicBezTo>
                    <a:cubicBezTo>
                      <a:pt x="94" y="120"/>
                      <a:pt x="94" y="120"/>
                      <a:pt x="94" y="120"/>
                    </a:cubicBezTo>
                    <a:cubicBezTo>
                      <a:pt x="97" y="85"/>
                      <a:pt x="97" y="85"/>
                      <a:pt x="97" y="85"/>
                    </a:cubicBezTo>
                    <a:cubicBezTo>
                      <a:pt x="97" y="83"/>
                      <a:pt x="99" y="81"/>
                      <a:pt x="101" y="81"/>
                    </a:cubicBezTo>
                    <a:cubicBezTo>
                      <a:pt x="103" y="81"/>
                      <a:pt x="104" y="83"/>
                      <a:pt x="104" y="85"/>
                    </a:cubicBezTo>
                    <a:cubicBezTo>
                      <a:pt x="107" y="133"/>
                      <a:pt x="107" y="133"/>
                      <a:pt x="107" y="133"/>
                    </a:cubicBezTo>
                    <a:cubicBezTo>
                      <a:pt x="120" y="52"/>
                      <a:pt x="120" y="52"/>
                      <a:pt x="120" y="52"/>
                    </a:cubicBezTo>
                    <a:cubicBezTo>
                      <a:pt x="120" y="50"/>
                      <a:pt x="122" y="49"/>
                      <a:pt x="124" y="49"/>
                    </a:cubicBezTo>
                    <a:cubicBezTo>
                      <a:pt x="126" y="49"/>
                      <a:pt x="127" y="50"/>
                      <a:pt x="127" y="52"/>
                    </a:cubicBezTo>
                    <a:cubicBezTo>
                      <a:pt x="132" y="132"/>
                      <a:pt x="132" y="132"/>
                      <a:pt x="132" y="132"/>
                    </a:cubicBezTo>
                    <a:cubicBezTo>
                      <a:pt x="135" y="81"/>
                      <a:pt x="135" y="81"/>
                      <a:pt x="135" y="81"/>
                    </a:cubicBezTo>
                    <a:cubicBezTo>
                      <a:pt x="135" y="80"/>
                      <a:pt x="136" y="78"/>
                      <a:pt x="138" y="78"/>
                    </a:cubicBezTo>
                    <a:cubicBezTo>
                      <a:pt x="138" y="78"/>
                      <a:pt x="138" y="78"/>
                      <a:pt x="138" y="78"/>
                    </a:cubicBezTo>
                    <a:cubicBezTo>
                      <a:pt x="140" y="78"/>
                      <a:pt x="142" y="79"/>
                      <a:pt x="142" y="81"/>
                    </a:cubicBezTo>
                    <a:cubicBezTo>
                      <a:pt x="151" y="160"/>
                      <a:pt x="151" y="160"/>
                      <a:pt x="151" y="160"/>
                    </a:cubicBezTo>
                    <a:cubicBezTo>
                      <a:pt x="163" y="66"/>
                      <a:pt x="163" y="66"/>
                      <a:pt x="163" y="66"/>
                    </a:cubicBezTo>
                    <a:cubicBezTo>
                      <a:pt x="164" y="65"/>
                      <a:pt x="165" y="63"/>
                      <a:pt x="167" y="63"/>
                    </a:cubicBezTo>
                    <a:cubicBezTo>
                      <a:pt x="169" y="63"/>
                      <a:pt x="170" y="65"/>
                      <a:pt x="170" y="67"/>
                    </a:cubicBezTo>
                    <a:cubicBezTo>
                      <a:pt x="176" y="122"/>
                      <a:pt x="176" y="122"/>
                      <a:pt x="176" y="122"/>
                    </a:cubicBezTo>
                    <a:cubicBezTo>
                      <a:pt x="208" y="122"/>
                      <a:pt x="208" y="122"/>
                      <a:pt x="208" y="122"/>
                    </a:cubicBezTo>
                    <a:cubicBezTo>
                      <a:pt x="209" y="116"/>
                      <a:pt x="209" y="110"/>
                      <a:pt x="209" y="104"/>
                    </a:cubicBezTo>
                    <a:cubicBezTo>
                      <a:pt x="209" y="46"/>
                      <a:pt x="163" y="0"/>
                      <a:pt x="105" y="0"/>
                    </a:cubicBezTo>
                    <a:cubicBezTo>
                      <a:pt x="47" y="0"/>
                      <a:pt x="0" y="46"/>
                      <a:pt x="0" y="104"/>
                    </a:cubicBezTo>
                    <a:cubicBezTo>
                      <a:pt x="0" y="111"/>
                      <a:pt x="1" y="117"/>
                      <a:pt x="2" y="123"/>
                    </a:cubicBezTo>
                    <a:lnTo>
                      <a:pt x="50" y="123"/>
                    </a:lnTo>
                    <a:close/>
                  </a:path>
                </a:pathLst>
              </a:custGeom>
              <a:solidFill>
                <a:schemeClr val="accent5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 defTabSz="507523"/>
                <a:endParaRPr lang="en-US" sz="1998">
                  <a:solidFill>
                    <a:prstClr val="black"/>
                  </a:solidFill>
                  <a:latin typeface="Ebrima" panose="02000000000000000000" pitchFamily="2" charset="0"/>
                  <a:ea typeface="Ebrima" panose="02000000000000000000" pitchFamily="2" charset="0"/>
                  <a:cs typeface="Ebrima" panose="02000000000000000000" pitchFamily="2" charset="0"/>
                </a:endParaRPr>
              </a:p>
            </p:txBody>
          </p:sp>
          <p:sp>
            <p:nvSpPr>
              <p:cNvPr id="65" name="Freeform 10">
                <a:extLst>
                  <a:ext uri="{FF2B5EF4-FFF2-40B4-BE49-F238E27FC236}">
                    <a16:creationId xmlns:a16="http://schemas.microsoft.com/office/drawing/2014/main" id="{B5B2DDA4-00AD-44E0-816B-AA7446CD9F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26905" y="1295908"/>
                <a:ext cx="661713" cy="407419"/>
              </a:xfrm>
              <a:custGeom>
                <a:avLst/>
                <a:gdLst>
                  <a:gd name="T0" fmla="*/ 1795700021 w 203"/>
                  <a:gd name="T1" fmla="*/ 478052417 h 125"/>
                  <a:gd name="T2" fmla="*/ 1763823709 w 203"/>
                  <a:gd name="T3" fmla="*/ 446182473 h 125"/>
                  <a:gd name="T4" fmla="*/ 1731947396 w 203"/>
                  <a:gd name="T5" fmla="*/ 138105263 h 125"/>
                  <a:gd name="T6" fmla="*/ 1604442146 w 203"/>
                  <a:gd name="T7" fmla="*/ 1115454554 h 125"/>
                  <a:gd name="T8" fmla="*/ 1561942570 w 203"/>
                  <a:gd name="T9" fmla="*/ 1147324498 h 125"/>
                  <a:gd name="T10" fmla="*/ 1561942570 w 203"/>
                  <a:gd name="T11" fmla="*/ 1147324498 h 125"/>
                  <a:gd name="T12" fmla="*/ 1530066257 w 203"/>
                  <a:gd name="T13" fmla="*/ 1115454554 h 125"/>
                  <a:gd name="T14" fmla="*/ 1445060584 w 203"/>
                  <a:gd name="T15" fmla="*/ 414312529 h 125"/>
                  <a:gd name="T16" fmla="*/ 1402561007 w 203"/>
                  <a:gd name="T17" fmla="*/ 1136702269 h 125"/>
                  <a:gd name="T18" fmla="*/ 1370681435 w 203"/>
                  <a:gd name="T19" fmla="*/ 1168572213 h 125"/>
                  <a:gd name="T20" fmla="*/ 1370681435 w 203"/>
                  <a:gd name="T21" fmla="*/ 1168572213 h 125"/>
                  <a:gd name="T22" fmla="*/ 1328181858 w 203"/>
                  <a:gd name="T23" fmla="*/ 1136702269 h 125"/>
                  <a:gd name="T24" fmla="*/ 1264429234 w 203"/>
                  <a:gd name="T25" fmla="*/ 0 h 125"/>
                  <a:gd name="T26" fmla="*/ 1126297460 w 203"/>
                  <a:gd name="T27" fmla="*/ 860495003 h 125"/>
                  <a:gd name="T28" fmla="*/ 1083794623 w 203"/>
                  <a:gd name="T29" fmla="*/ 892364947 h 125"/>
                  <a:gd name="T30" fmla="*/ 1051918311 w 203"/>
                  <a:gd name="T31" fmla="*/ 860495003 h 125"/>
                  <a:gd name="T32" fmla="*/ 1030668522 w 203"/>
                  <a:gd name="T33" fmla="*/ 478052417 h 125"/>
                  <a:gd name="T34" fmla="*/ 988165686 w 203"/>
                  <a:gd name="T35" fmla="*/ 839247287 h 125"/>
                  <a:gd name="T36" fmla="*/ 956289373 w 203"/>
                  <a:gd name="T37" fmla="*/ 871117231 h 125"/>
                  <a:gd name="T38" fmla="*/ 956289373 w 203"/>
                  <a:gd name="T39" fmla="*/ 871117231 h 125"/>
                  <a:gd name="T40" fmla="*/ 924413061 w 203"/>
                  <a:gd name="T41" fmla="*/ 839247287 h 125"/>
                  <a:gd name="T42" fmla="*/ 871286960 w 203"/>
                  <a:gd name="T43" fmla="*/ 159349719 h 125"/>
                  <a:gd name="T44" fmla="*/ 807534335 w 203"/>
                  <a:gd name="T45" fmla="*/ 796751856 h 125"/>
                  <a:gd name="T46" fmla="*/ 775658023 w 203"/>
                  <a:gd name="T47" fmla="*/ 839247287 h 125"/>
                  <a:gd name="T48" fmla="*/ 733155186 w 203"/>
                  <a:gd name="T49" fmla="*/ 807377343 h 125"/>
                  <a:gd name="T50" fmla="*/ 637526249 w 203"/>
                  <a:gd name="T51" fmla="*/ 169975207 h 125"/>
                  <a:gd name="T52" fmla="*/ 563150360 w 203"/>
                  <a:gd name="T53" fmla="*/ 456804702 h 125"/>
                  <a:gd name="T54" fmla="*/ 520647523 w 203"/>
                  <a:gd name="T55" fmla="*/ 488674645 h 125"/>
                  <a:gd name="T56" fmla="*/ 0 w 203"/>
                  <a:gd name="T57" fmla="*/ 488674645 h 125"/>
                  <a:gd name="T58" fmla="*/ 1083794623 w 203"/>
                  <a:gd name="T59" fmla="*/ 1327921932 h 125"/>
                  <a:gd name="T60" fmla="*/ 2147483647 w 203"/>
                  <a:gd name="T61" fmla="*/ 478052417 h 125"/>
                  <a:gd name="T62" fmla="*/ 1795700021 w 203"/>
                  <a:gd name="T63" fmla="*/ 478052417 h 125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w 203"/>
                  <a:gd name="T97" fmla="*/ 0 h 125"/>
                  <a:gd name="T98" fmla="*/ 203 w 203"/>
                  <a:gd name="T99" fmla="*/ 125 h 125"/>
                </a:gdLst>
                <a:ahLst/>
                <a:cxnLst>
                  <a:cxn ang="T64">
                    <a:pos x="T0" y="T1"/>
                  </a:cxn>
                  <a:cxn ang="T65">
                    <a:pos x="T2" y="T3"/>
                  </a:cxn>
                  <a:cxn ang="T66">
                    <a:pos x="T4" y="T5"/>
                  </a:cxn>
                  <a:cxn ang="T67">
                    <a:pos x="T6" y="T7"/>
                  </a:cxn>
                  <a:cxn ang="T68">
                    <a:pos x="T8" y="T9"/>
                  </a:cxn>
                  <a:cxn ang="T69">
                    <a:pos x="T10" y="T11"/>
                  </a:cxn>
                  <a:cxn ang="T70">
                    <a:pos x="T12" y="T13"/>
                  </a:cxn>
                  <a:cxn ang="T71">
                    <a:pos x="T14" y="T15"/>
                  </a:cxn>
                  <a:cxn ang="T72">
                    <a:pos x="T16" y="T17"/>
                  </a:cxn>
                  <a:cxn ang="T73">
                    <a:pos x="T18" y="T19"/>
                  </a:cxn>
                  <a:cxn ang="T74">
                    <a:pos x="T20" y="T21"/>
                  </a:cxn>
                  <a:cxn ang="T75">
                    <a:pos x="T22" y="T23"/>
                  </a:cxn>
                  <a:cxn ang="T76">
                    <a:pos x="T24" y="T25"/>
                  </a:cxn>
                  <a:cxn ang="T77">
                    <a:pos x="T26" y="T27"/>
                  </a:cxn>
                  <a:cxn ang="T78">
                    <a:pos x="T28" y="T29"/>
                  </a:cxn>
                  <a:cxn ang="T79">
                    <a:pos x="T30" y="T31"/>
                  </a:cxn>
                  <a:cxn ang="T80">
                    <a:pos x="T32" y="T33"/>
                  </a:cxn>
                  <a:cxn ang="T81">
                    <a:pos x="T34" y="T35"/>
                  </a:cxn>
                  <a:cxn ang="T82">
                    <a:pos x="T36" y="T37"/>
                  </a:cxn>
                  <a:cxn ang="T83">
                    <a:pos x="T38" y="T39"/>
                  </a:cxn>
                  <a:cxn ang="T84">
                    <a:pos x="T40" y="T41"/>
                  </a:cxn>
                  <a:cxn ang="T85">
                    <a:pos x="T42" y="T43"/>
                  </a:cxn>
                  <a:cxn ang="T86">
                    <a:pos x="T44" y="T45"/>
                  </a:cxn>
                  <a:cxn ang="T87">
                    <a:pos x="T46" y="T47"/>
                  </a:cxn>
                  <a:cxn ang="T88">
                    <a:pos x="T48" y="T49"/>
                  </a:cxn>
                  <a:cxn ang="T89">
                    <a:pos x="T50" y="T51"/>
                  </a:cxn>
                  <a:cxn ang="T90">
                    <a:pos x="T52" y="T53"/>
                  </a:cxn>
                  <a:cxn ang="T91">
                    <a:pos x="T54" y="T55"/>
                  </a:cxn>
                  <a:cxn ang="T92">
                    <a:pos x="T56" y="T57"/>
                  </a:cxn>
                  <a:cxn ang="T93">
                    <a:pos x="T58" y="T59"/>
                  </a:cxn>
                  <a:cxn ang="T94">
                    <a:pos x="T60" y="T61"/>
                  </a:cxn>
                  <a:cxn ang="T95">
                    <a:pos x="T62" y="T63"/>
                  </a:cxn>
                </a:cxnLst>
                <a:rect l="T96" t="T97" r="T98" b="T99"/>
                <a:pathLst>
                  <a:path w="203" h="125">
                    <a:moveTo>
                      <a:pt x="169" y="45"/>
                    </a:moveTo>
                    <a:cubicBezTo>
                      <a:pt x="168" y="45"/>
                      <a:pt x="166" y="43"/>
                      <a:pt x="166" y="42"/>
                    </a:cubicBezTo>
                    <a:cubicBezTo>
                      <a:pt x="163" y="13"/>
                      <a:pt x="163" y="13"/>
                      <a:pt x="163" y="13"/>
                    </a:cubicBezTo>
                    <a:cubicBezTo>
                      <a:pt x="151" y="105"/>
                      <a:pt x="151" y="105"/>
                      <a:pt x="151" y="105"/>
                    </a:cubicBezTo>
                    <a:cubicBezTo>
                      <a:pt x="150" y="107"/>
                      <a:pt x="149" y="108"/>
                      <a:pt x="147" y="108"/>
                    </a:cubicBezTo>
                    <a:cubicBezTo>
                      <a:pt x="147" y="108"/>
                      <a:pt x="147" y="108"/>
                      <a:pt x="147" y="108"/>
                    </a:cubicBezTo>
                    <a:cubicBezTo>
                      <a:pt x="145" y="108"/>
                      <a:pt x="144" y="107"/>
                      <a:pt x="144" y="105"/>
                    </a:cubicBezTo>
                    <a:cubicBezTo>
                      <a:pt x="136" y="39"/>
                      <a:pt x="136" y="39"/>
                      <a:pt x="136" y="39"/>
                    </a:cubicBezTo>
                    <a:cubicBezTo>
                      <a:pt x="132" y="107"/>
                      <a:pt x="132" y="107"/>
                      <a:pt x="132" y="107"/>
                    </a:cubicBezTo>
                    <a:cubicBezTo>
                      <a:pt x="132" y="109"/>
                      <a:pt x="131" y="110"/>
                      <a:pt x="129" y="110"/>
                    </a:cubicBezTo>
                    <a:cubicBezTo>
                      <a:pt x="129" y="110"/>
                      <a:pt x="129" y="110"/>
                      <a:pt x="129" y="110"/>
                    </a:cubicBezTo>
                    <a:cubicBezTo>
                      <a:pt x="127" y="110"/>
                      <a:pt x="126" y="109"/>
                      <a:pt x="125" y="107"/>
                    </a:cubicBezTo>
                    <a:cubicBezTo>
                      <a:pt x="119" y="0"/>
                      <a:pt x="119" y="0"/>
                      <a:pt x="119" y="0"/>
                    </a:cubicBezTo>
                    <a:cubicBezTo>
                      <a:pt x="106" y="81"/>
                      <a:pt x="106" y="81"/>
                      <a:pt x="106" y="81"/>
                    </a:cubicBezTo>
                    <a:cubicBezTo>
                      <a:pt x="106" y="83"/>
                      <a:pt x="104" y="84"/>
                      <a:pt x="102" y="84"/>
                    </a:cubicBezTo>
                    <a:cubicBezTo>
                      <a:pt x="100" y="84"/>
                      <a:pt x="99" y="83"/>
                      <a:pt x="99" y="81"/>
                    </a:cubicBezTo>
                    <a:cubicBezTo>
                      <a:pt x="97" y="45"/>
                      <a:pt x="97" y="45"/>
                      <a:pt x="97" y="45"/>
                    </a:cubicBezTo>
                    <a:cubicBezTo>
                      <a:pt x="93" y="79"/>
                      <a:pt x="93" y="79"/>
                      <a:pt x="93" y="79"/>
                    </a:cubicBezTo>
                    <a:cubicBezTo>
                      <a:pt x="93" y="81"/>
                      <a:pt x="92" y="82"/>
                      <a:pt x="90" y="82"/>
                    </a:cubicBezTo>
                    <a:cubicBezTo>
                      <a:pt x="90" y="82"/>
                      <a:pt x="90" y="82"/>
                      <a:pt x="90" y="82"/>
                    </a:cubicBezTo>
                    <a:cubicBezTo>
                      <a:pt x="88" y="82"/>
                      <a:pt x="87" y="81"/>
                      <a:pt x="87" y="79"/>
                    </a:cubicBezTo>
                    <a:cubicBezTo>
                      <a:pt x="82" y="15"/>
                      <a:pt x="82" y="15"/>
                      <a:pt x="82" y="15"/>
                    </a:cubicBezTo>
                    <a:cubicBezTo>
                      <a:pt x="76" y="75"/>
                      <a:pt x="76" y="75"/>
                      <a:pt x="76" y="75"/>
                    </a:cubicBezTo>
                    <a:cubicBezTo>
                      <a:pt x="76" y="77"/>
                      <a:pt x="75" y="79"/>
                      <a:pt x="73" y="79"/>
                    </a:cubicBezTo>
                    <a:cubicBezTo>
                      <a:pt x="71" y="79"/>
                      <a:pt x="70" y="77"/>
                      <a:pt x="69" y="76"/>
                    </a:cubicBezTo>
                    <a:cubicBezTo>
                      <a:pt x="60" y="16"/>
                      <a:pt x="60" y="16"/>
                      <a:pt x="60" y="16"/>
                    </a:cubicBezTo>
                    <a:cubicBezTo>
                      <a:pt x="53" y="43"/>
                      <a:pt x="53" y="43"/>
                      <a:pt x="53" y="43"/>
                    </a:cubicBezTo>
                    <a:cubicBezTo>
                      <a:pt x="52" y="45"/>
                      <a:pt x="51" y="46"/>
                      <a:pt x="49" y="46"/>
                    </a:cubicBezTo>
                    <a:cubicBezTo>
                      <a:pt x="0" y="46"/>
                      <a:pt x="0" y="46"/>
                      <a:pt x="0" y="46"/>
                    </a:cubicBezTo>
                    <a:cubicBezTo>
                      <a:pt x="12" y="91"/>
                      <a:pt x="53" y="125"/>
                      <a:pt x="102" y="125"/>
                    </a:cubicBezTo>
                    <a:cubicBezTo>
                      <a:pt x="151" y="125"/>
                      <a:pt x="192" y="91"/>
                      <a:pt x="203" y="45"/>
                    </a:cubicBezTo>
                    <a:lnTo>
                      <a:pt x="169" y="45"/>
                    </a:lnTo>
                    <a:close/>
                  </a:path>
                </a:pathLst>
              </a:custGeom>
              <a:solidFill>
                <a:schemeClr val="accent5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 defTabSz="507523"/>
                <a:endParaRPr lang="en-US" sz="1998">
                  <a:solidFill>
                    <a:prstClr val="black"/>
                  </a:solidFill>
                  <a:latin typeface="Ebrima" panose="02000000000000000000" pitchFamily="2" charset="0"/>
                  <a:ea typeface="Ebrima" panose="02000000000000000000" pitchFamily="2" charset="0"/>
                  <a:cs typeface="Ebrima" panose="02000000000000000000" pitchFamily="2" charset="0"/>
                </a:endParaRPr>
              </a:p>
            </p:txBody>
          </p:sp>
          <p:sp>
            <p:nvSpPr>
              <p:cNvPr id="66" name="Freeform 11">
                <a:extLst>
                  <a:ext uri="{FF2B5EF4-FFF2-40B4-BE49-F238E27FC236}">
                    <a16:creationId xmlns:a16="http://schemas.microsoft.com/office/drawing/2014/main" id="{4BB885BB-B5BE-4DE0-84F4-54BDA0A7FC6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799793" y="1081742"/>
                <a:ext cx="172901" cy="172900"/>
              </a:xfrm>
              <a:custGeom>
                <a:avLst/>
                <a:gdLst>
                  <a:gd name="T0" fmla="*/ 191564521 w 53"/>
                  <a:gd name="T1" fmla="*/ 542759198 h 53"/>
                  <a:gd name="T2" fmla="*/ 276703583 w 53"/>
                  <a:gd name="T3" fmla="*/ 532117692 h 53"/>
                  <a:gd name="T4" fmla="*/ 276703583 w 53"/>
                  <a:gd name="T5" fmla="*/ 564045472 h 53"/>
                  <a:gd name="T6" fmla="*/ 361845908 w 53"/>
                  <a:gd name="T7" fmla="*/ 521476187 h 53"/>
                  <a:gd name="T8" fmla="*/ 276703583 w 53"/>
                  <a:gd name="T9" fmla="*/ 564045472 h 53"/>
                  <a:gd name="T10" fmla="*/ 85139062 w 53"/>
                  <a:gd name="T11" fmla="*/ 489548408 h 53"/>
                  <a:gd name="T12" fmla="*/ 170281387 w 53"/>
                  <a:gd name="T13" fmla="*/ 510834681 h 53"/>
                  <a:gd name="T14" fmla="*/ 393770610 w 53"/>
                  <a:gd name="T15" fmla="*/ 532117692 h 53"/>
                  <a:gd name="T16" fmla="*/ 446984970 w 53"/>
                  <a:gd name="T17" fmla="*/ 468265396 h 53"/>
                  <a:gd name="T18" fmla="*/ 393770610 w 53"/>
                  <a:gd name="T19" fmla="*/ 532117692 h 53"/>
                  <a:gd name="T20" fmla="*/ 21286397 w 53"/>
                  <a:gd name="T21" fmla="*/ 393768332 h 53"/>
                  <a:gd name="T22" fmla="*/ 85139062 w 53"/>
                  <a:gd name="T23" fmla="*/ 446979123 h 53"/>
                  <a:gd name="T24" fmla="*/ 489554501 w 53"/>
                  <a:gd name="T25" fmla="*/ 468265396 h 53"/>
                  <a:gd name="T26" fmla="*/ 510840898 w 53"/>
                  <a:gd name="T27" fmla="*/ 372482058 h 53"/>
                  <a:gd name="T28" fmla="*/ 489554501 w 53"/>
                  <a:gd name="T29" fmla="*/ 468265396 h 53"/>
                  <a:gd name="T30" fmla="*/ 0 w 53"/>
                  <a:gd name="T31" fmla="*/ 276701983 h 53"/>
                  <a:gd name="T32" fmla="*/ 31927964 w 53"/>
                  <a:gd name="T33" fmla="*/ 276701983 h 53"/>
                  <a:gd name="T34" fmla="*/ 42569531 w 53"/>
                  <a:gd name="T35" fmla="*/ 351199047 h 53"/>
                  <a:gd name="T36" fmla="*/ 553410429 w 53"/>
                  <a:gd name="T37" fmla="*/ 361840553 h 53"/>
                  <a:gd name="T38" fmla="*/ 532124032 w 53"/>
                  <a:gd name="T39" fmla="*/ 276701983 h 53"/>
                  <a:gd name="T40" fmla="*/ 564051996 w 53"/>
                  <a:gd name="T41" fmla="*/ 266060477 h 53"/>
                  <a:gd name="T42" fmla="*/ 553410429 w 53"/>
                  <a:gd name="T43" fmla="*/ 361840553 h 53"/>
                  <a:gd name="T44" fmla="*/ 0 w 53"/>
                  <a:gd name="T45" fmla="*/ 244774204 h 53"/>
                  <a:gd name="T46" fmla="*/ 53211098 w 53"/>
                  <a:gd name="T47" fmla="*/ 170277140 h 53"/>
                  <a:gd name="T48" fmla="*/ 532124032 w 53"/>
                  <a:gd name="T49" fmla="*/ 244774204 h 53"/>
                  <a:gd name="T50" fmla="*/ 532124032 w 53"/>
                  <a:gd name="T51" fmla="*/ 159635634 h 53"/>
                  <a:gd name="T52" fmla="*/ 532124032 w 53"/>
                  <a:gd name="T53" fmla="*/ 244774204 h 53"/>
                  <a:gd name="T54" fmla="*/ 42569531 w 53"/>
                  <a:gd name="T55" fmla="*/ 127707855 h 53"/>
                  <a:gd name="T56" fmla="*/ 117067026 w 53"/>
                  <a:gd name="T57" fmla="*/ 85138570 h 53"/>
                  <a:gd name="T58" fmla="*/ 489554501 w 53"/>
                  <a:gd name="T59" fmla="*/ 148994128 h 53"/>
                  <a:gd name="T60" fmla="*/ 457626537 w 53"/>
                  <a:gd name="T61" fmla="*/ 63855558 h 53"/>
                  <a:gd name="T62" fmla="*/ 489554501 w 53"/>
                  <a:gd name="T63" fmla="*/ 148994128 h 53"/>
                  <a:gd name="T64" fmla="*/ 127708593 w 53"/>
                  <a:gd name="T65" fmla="*/ 42569285 h 53"/>
                  <a:gd name="T66" fmla="*/ 212850918 w 53"/>
                  <a:gd name="T67" fmla="*/ 31927779 h 53"/>
                  <a:gd name="T68" fmla="*/ 415057006 w 53"/>
                  <a:gd name="T69" fmla="*/ 63855558 h 53"/>
                  <a:gd name="T70" fmla="*/ 351201078 w 53"/>
                  <a:gd name="T71" fmla="*/ 10641506 h 53"/>
                  <a:gd name="T72" fmla="*/ 415057006 w 53"/>
                  <a:gd name="T73" fmla="*/ 63855558 h 53"/>
                  <a:gd name="T74" fmla="*/ 234134052 w 53"/>
                  <a:gd name="T75" fmla="*/ 0 h 53"/>
                  <a:gd name="T76" fmla="*/ 319273114 w 53"/>
                  <a:gd name="T77" fmla="*/ 31927779 h 53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w 53"/>
                  <a:gd name="T118" fmla="*/ 0 h 53"/>
                  <a:gd name="T119" fmla="*/ 53 w 53"/>
                  <a:gd name="T120" fmla="*/ 53 h 53"/>
                </a:gdLst>
                <a:ahLst/>
                <a:cxnLst>
                  <a:cxn ang="T78">
                    <a:pos x="T0" y="T1"/>
                  </a:cxn>
                  <a:cxn ang="T79">
                    <a:pos x="T2" y="T3"/>
                  </a:cxn>
                  <a:cxn ang="T80">
                    <a:pos x="T4" y="T5"/>
                  </a:cxn>
                  <a:cxn ang="T81">
                    <a:pos x="T6" y="T7"/>
                  </a:cxn>
                  <a:cxn ang="T82">
                    <a:pos x="T8" y="T9"/>
                  </a:cxn>
                  <a:cxn ang="T83">
                    <a:pos x="T10" y="T11"/>
                  </a:cxn>
                  <a:cxn ang="T84">
                    <a:pos x="T12" y="T13"/>
                  </a:cxn>
                  <a:cxn ang="T85">
                    <a:pos x="T14" y="T15"/>
                  </a:cxn>
                  <a:cxn ang="T86">
                    <a:pos x="T16" y="T17"/>
                  </a:cxn>
                  <a:cxn ang="T87">
                    <a:pos x="T18" y="T19"/>
                  </a:cxn>
                  <a:cxn ang="T88">
                    <a:pos x="T20" y="T21"/>
                  </a:cxn>
                  <a:cxn ang="T89">
                    <a:pos x="T22" y="T23"/>
                  </a:cxn>
                  <a:cxn ang="T90">
                    <a:pos x="T24" y="T25"/>
                  </a:cxn>
                  <a:cxn ang="T91">
                    <a:pos x="T26" y="T27"/>
                  </a:cxn>
                  <a:cxn ang="T92">
                    <a:pos x="T28" y="T29"/>
                  </a:cxn>
                  <a:cxn ang="T93">
                    <a:pos x="T30" y="T31"/>
                  </a:cxn>
                  <a:cxn ang="T94">
                    <a:pos x="T32" y="T33"/>
                  </a:cxn>
                  <a:cxn ang="T95">
                    <a:pos x="T34" y="T35"/>
                  </a:cxn>
                  <a:cxn ang="T96">
                    <a:pos x="T36" y="T37"/>
                  </a:cxn>
                  <a:cxn ang="T97">
                    <a:pos x="T38" y="T39"/>
                  </a:cxn>
                  <a:cxn ang="T98">
                    <a:pos x="T40" y="T41"/>
                  </a:cxn>
                  <a:cxn ang="T99">
                    <a:pos x="T42" y="T43"/>
                  </a:cxn>
                  <a:cxn ang="T100">
                    <a:pos x="T44" y="T45"/>
                  </a:cxn>
                  <a:cxn ang="T101">
                    <a:pos x="T46" y="T47"/>
                  </a:cxn>
                  <a:cxn ang="T102">
                    <a:pos x="T48" y="T49"/>
                  </a:cxn>
                  <a:cxn ang="T103">
                    <a:pos x="T50" y="T51"/>
                  </a:cxn>
                  <a:cxn ang="T104">
                    <a:pos x="T52" y="T53"/>
                  </a:cxn>
                  <a:cxn ang="T105">
                    <a:pos x="T54" y="T55"/>
                  </a:cxn>
                  <a:cxn ang="T106">
                    <a:pos x="T56" y="T57"/>
                  </a:cxn>
                  <a:cxn ang="T107">
                    <a:pos x="T58" y="T59"/>
                  </a:cxn>
                  <a:cxn ang="T108">
                    <a:pos x="T60" y="T61"/>
                  </a:cxn>
                  <a:cxn ang="T109">
                    <a:pos x="T62" y="T63"/>
                  </a:cxn>
                  <a:cxn ang="T110">
                    <a:pos x="T64" y="T65"/>
                  </a:cxn>
                  <a:cxn ang="T111">
                    <a:pos x="T66" y="T67"/>
                  </a:cxn>
                  <a:cxn ang="T112">
                    <a:pos x="T68" y="T69"/>
                  </a:cxn>
                  <a:cxn ang="T113">
                    <a:pos x="T70" y="T71"/>
                  </a:cxn>
                  <a:cxn ang="T114">
                    <a:pos x="T72" y="T73"/>
                  </a:cxn>
                  <a:cxn ang="T115">
                    <a:pos x="T74" y="T75"/>
                  </a:cxn>
                  <a:cxn ang="T116">
                    <a:pos x="T76" y="T77"/>
                  </a:cxn>
                </a:cxnLst>
                <a:rect l="T117" t="T118" r="T119" b="T120"/>
                <a:pathLst>
                  <a:path w="53" h="53">
                    <a:moveTo>
                      <a:pt x="26" y="53"/>
                    </a:moveTo>
                    <a:cubicBezTo>
                      <a:pt x="23" y="53"/>
                      <a:pt x="21" y="52"/>
                      <a:pt x="18" y="51"/>
                    </a:cubicBezTo>
                    <a:cubicBezTo>
                      <a:pt x="19" y="49"/>
                      <a:pt x="19" y="49"/>
                      <a:pt x="19" y="49"/>
                    </a:cubicBezTo>
                    <a:cubicBezTo>
                      <a:pt x="21" y="50"/>
                      <a:pt x="24" y="50"/>
                      <a:pt x="26" y="50"/>
                    </a:cubicBezTo>
                    <a:cubicBezTo>
                      <a:pt x="26" y="53"/>
                      <a:pt x="26" y="53"/>
                      <a:pt x="26" y="53"/>
                    </a:cubicBezTo>
                    <a:close/>
                    <a:moveTo>
                      <a:pt x="26" y="53"/>
                    </a:moveTo>
                    <a:cubicBezTo>
                      <a:pt x="26" y="50"/>
                      <a:pt x="26" y="50"/>
                      <a:pt x="26" y="50"/>
                    </a:cubicBezTo>
                    <a:cubicBezTo>
                      <a:pt x="29" y="50"/>
                      <a:pt x="31" y="50"/>
                      <a:pt x="34" y="49"/>
                    </a:cubicBezTo>
                    <a:cubicBezTo>
                      <a:pt x="35" y="51"/>
                      <a:pt x="35" y="51"/>
                      <a:pt x="35" y="51"/>
                    </a:cubicBezTo>
                    <a:cubicBezTo>
                      <a:pt x="32" y="52"/>
                      <a:pt x="29" y="53"/>
                      <a:pt x="26" y="53"/>
                    </a:cubicBezTo>
                    <a:close/>
                    <a:moveTo>
                      <a:pt x="15" y="50"/>
                    </a:moveTo>
                    <a:cubicBezTo>
                      <a:pt x="13" y="49"/>
                      <a:pt x="10" y="48"/>
                      <a:pt x="8" y="46"/>
                    </a:cubicBezTo>
                    <a:cubicBezTo>
                      <a:pt x="10" y="44"/>
                      <a:pt x="10" y="44"/>
                      <a:pt x="10" y="44"/>
                    </a:cubicBezTo>
                    <a:cubicBezTo>
                      <a:pt x="12" y="45"/>
                      <a:pt x="14" y="47"/>
                      <a:pt x="16" y="48"/>
                    </a:cubicBezTo>
                    <a:cubicBezTo>
                      <a:pt x="15" y="50"/>
                      <a:pt x="15" y="50"/>
                      <a:pt x="15" y="50"/>
                    </a:cubicBezTo>
                    <a:close/>
                    <a:moveTo>
                      <a:pt x="37" y="50"/>
                    </a:moveTo>
                    <a:cubicBezTo>
                      <a:pt x="36" y="48"/>
                      <a:pt x="36" y="48"/>
                      <a:pt x="36" y="48"/>
                    </a:cubicBezTo>
                    <a:cubicBezTo>
                      <a:pt x="38" y="47"/>
                      <a:pt x="41" y="45"/>
                      <a:pt x="42" y="44"/>
                    </a:cubicBezTo>
                    <a:cubicBezTo>
                      <a:pt x="44" y="46"/>
                      <a:pt x="44" y="46"/>
                      <a:pt x="44" y="46"/>
                    </a:cubicBezTo>
                    <a:cubicBezTo>
                      <a:pt x="42" y="47"/>
                      <a:pt x="40" y="49"/>
                      <a:pt x="37" y="50"/>
                    </a:cubicBezTo>
                    <a:close/>
                    <a:moveTo>
                      <a:pt x="6" y="44"/>
                    </a:moveTo>
                    <a:cubicBezTo>
                      <a:pt x="5" y="42"/>
                      <a:pt x="3" y="39"/>
                      <a:pt x="2" y="37"/>
                    </a:cubicBezTo>
                    <a:cubicBezTo>
                      <a:pt x="4" y="36"/>
                      <a:pt x="4" y="36"/>
                      <a:pt x="4" y="36"/>
                    </a:cubicBezTo>
                    <a:cubicBezTo>
                      <a:pt x="5" y="38"/>
                      <a:pt x="7" y="40"/>
                      <a:pt x="8" y="42"/>
                    </a:cubicBezTo>
                    <a:cubicBezTo>
                      <a:pt x="6" y="44"/>
                      <a:pt x="6" y="44"/>
                      <a:pt x="6" y="44"/>
                    </a:cubicBezTo>
                    <a:close/>
                    <a:moveTo>
                      <a:pt x="46" y="44"/>
                    </a:moveTo>
                    <a:cubicBezTo>
                      <a:pt x="44" y="42"/>
                      <a:pt x="44" y="42"/>
                      <a:pt x="44" y="42"/>
                    </a:cubicBezTo>
                    <a:cubicBezTo>
                      <a:pt x="46" y="40"/>
                      <a:pt x="47" y="38"/>
                      <a:pt x="48" y="35"/>
                    </a:cubicBezTo>
                    <a:cubicBezTo>
                      <a:pt x="51" y="36"/>
                      <a:pt x="51" y="36"/>
                      <a:pt x="51" y="36"/>
                    </a:cubicBezTo>
                    <a:cubicBezTo>
                      <a:pt x="50" y="39"/>
                      <a:pt x="48" y="41"/>
                      <a:pt x="46" y="44"/>
                    </a:cubicBezTo>
                    <a:close/>
                    <a:moveTo>
                      <a:pt x="1" y="34"/>
                    </a:moveTo>
                    <a:cubicBezTo>
                      <a:pt x="0" y="31"/>
                      <a:pt x="0" y="29"/>
                      <a:pt x="0" y="26"/>
                    </a:cubicBezTo>
                    <a:cubicBezTo>
                      <a:pt x="0" y="26"/>
                      <a:pt x="0" y="26"/>
                      <a:pt x="0" y="26"/>
                    </a:cubicBezTo>
                    <a:cubicBezTo>
                      <a:pt x="3" y="26"/>
                      <a:pt x="3" y="26"/>
                      <a:pt x="3" y="26"/>
                    </a:cubicBezTo>
                    <a:cubicBezTo>
                      <a:pt x="3" y="26"/>
                      <a:pt x="3" y="26"/>
                      <a:pt x="3" y="26"/>
                    </a:cubicBezTo>
                    <a:cubicBezTo>
                      <a:pt x="3" y="29"/>
                      <a:pt x="3" y="31"/>
                      <a:pt x="4" y="33"/>
                    </a:cubicBezTo>
                    <a:cubicBezTo>
                      <a:pt x="1" y="34"/>
                      <a:pt x="1" y="34"/>
                      <a:pt x="1" y="34"/>
                    </a:cubicBezTo>
                    <a:close/>
                    <a:moveTo>
                      <a:pt x="52" y="34"/>
                    </a:moveTo>
                    <a:cubicBezTo>
                      <a:pt x="49" y="33"/>
                      <a:pt x="49" y="33"/>
                      <a:pt x="49" y="33"/>
                    </a:cubicBezTo>
                    <a:cubicBezTo>
                      <a:pt x="50" y="31"/>
                      <a:pt x="50" y="29"/>
                      <a:pt x="50" y="26"/>
                    </a:cubicBezTo>
                    <a:cubicBezTo>
                      <a:pt x="50" y="26"/>
                      <a:pt x="50" y="26"/>
                      <a:pt x="50" y="26"/>
                    </a:cubicBezTo>
                    <a:cubicBezTo>
                      <a:pt x="53" y="25"/>
                      <a:pt x="53" y="25"/>
                      <a:pt x="53" y="25"/>
                    </a:cubicBezTo>
                    <a:cubicBezTo>
                      <a:pt x="53" y="26"/>
                      <a:pt x="53" y="26"/>
                      <a:pt x="53" y="26"/>
                    </a:cubicBezTo>
                    <a:cubicBezTo>
                      <a:pt x="53" y="29"/>
                      <a:pt x="52" y="31"/>
                      <a:pt x="52" y="34"/>
                    </a:cubicBezTo>
                    <a:close/>
                    <a:moveTo>
                      <a:pt x="3" y="23"/>
                    </a:moveTo>
                    <a:cubicBezTo>
                      <a:pt x="0" y="23"/>
                      <a:pt x="0" y="23"/>
                      <a:pt x="0" y="23"/>
                    </a:cubicBezTo>
                    <a:cubicBezTo>
                      <a:pt x="0" y="20"/>
                      <a:pt x="1" y="17"/>
                      <a:pt x="3" y="15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4" y="18"/>
                      <a:pt x="3" y="21"/>
                      <a:pt x="3" y="23"/>
                    </a:cubicBezTo>
                    <a:close/>
                    <a:moveTo>
                      <a:pt x="50" y="23"/>
                    </a:moveTo>
                    <a:cubicBezTo>
                      <a:pt x="49" y="21"/>
                      <a:pt x="49" y="18"/>
                      <a:pt x="48" y="16"/>
                    </a:cubicBezTo>
                    <a:cubicBezTo>
                      <a:pt x="50" y="15"/>
                      <a:pt x="50" y="15"/>
                      <a:pt x="50" y="15"/>
                    </a:cubicBezTo>
                    <a:cubicBezTo>
                      <a:pt x="51" y="17"/>
                      <a:pt x="52" y="20"/>
                      <a:pt x="52" y="23"/>
                    </a:cubicBezTo>
                    <a:cubicBezTo>
                      <a:pt x="50" y="23"/>
                      <a:pt x="50" y="23"/>
                      <a:pt x="50" y="23"/>
                    </a:cubicBezTo>
                    <a:close/>
                    <a:moveTo>
                      <a:pt x="6" y="14"/>
                    </a:moveTo>
                    <a:cubicBezTo>
                      <a:pt x="4" y="12"/>
                      <a:pt x="4" y="12"/>
                      <a:pt x="4" y="12"/>
                    </a:cubicBezTo>
                    <a:cubicBezTo>
                      <a:pt x="5" y="10"/>
                      <a:pt x="7" y="8"/>
                      <a:pt x="9" y="6"/>
                    </a:cubicBezTo>
                    <a:cubicBezTo>
                      <a:pt x="11" y="8"/>
                      <a:pt x="11" y="8"/>
                      <a:pt x="11" y="8"/>
                    </a:cubicBezTo>
                    <a:cubicBezTo>
                      <a:pt x="9" y="10"/>
                      <a:pt x="7" y="12"/>
                      <a:pt x="6" y="14"/>
                    </a:cubicBezTo>
                    <a:close/>
                    <a:moveTo>
                      <a:pt x="46" y="14"/>
                    </a:moveTo>
                    <a:cubicBezTo>
                      <a:pt x="45" y="11"/>
                      <a:pt x="43" y="10"/>
                      <a:pt x="41" y="8"/>
                    </a:cubicBezTo>
                    <a:cubicBezTo>
                      <a:pt x="43" y="6"/>
                      <a:pt x="43" y="6"/>
                      <a:pt x="43" y="6"/>
                    </a:cubicBezTo>
                    <a:cubicBezTo>
                      <a:pt x="45" y="8"/>
                      <a:pt x="47" y="10"/>
                      <a:pt x="49" y="12"/>
                    </a:cubicBezTo>
                    <a:cubicBezTo>
                      <a:pt x="46" y="14"/>
                      <a:pt x="46" y="14"/>
                      <a:pt x="46" y="14"/>
                    </a:cubicBezTo>
                    <a:close/>
                    <a:moveTo>
                      <a:pt x="13" y="7"/>
                    </a:moveTo>
                    <a:cubicBezTo>
                      <a:pt x="12" y="4"/>
                      <a:pt x="12" y="4"/>
                      <a:pt x="12" y="4"/>
                    </a:cubicBezTo>
                    <a:cubicBezTo>
                      <a:pt x="14" y="3"/>
                      <a:pt x="17" y="2"/>
                      <a:pt x="19" y="1"/>
                    </a:cubicBezTo>
                    <a:cubicBezTo>
                      <a:pt x="20" y="3"/>
                      <a:pt x="20" y="3"/>
                      <a:pt x="20" y="3"/>
                    </a:cubicBezTo>
                    <a:cubicBezTo>
                      <a:pt x="18" y="4"/>
                      <a:pt x="15" y="5"/>
                      <a:pt x="13" y="7"/>
                    </a:cubicBezTo>
                    <a:close/>
                    <a:moveTo>
                      <a:pt x="39" y="6"/>
                    </a:moveTo>
                    <a:cubicBezTo>
                      <a:pt x="37" y="5"/>
                      <a:pt x="35" y="4"/>
                      <a:pt x="32" y="3"/>
                    </a:cubicBezTo>
                    <a:cubicBezTo>
                      <a:pt x="33" y="1"/>
                      <a:pt x="33" y="1"/>
                      <a:pt x="33" y="1"/>
                    </a:cubicBezTo>
                    <a:cubicBezTo>
                      <a:pt x="36" y="2"/>
                      <a:pt x="38" y="3"/>
                      <a:pt x="41" y="4"/>
                    </a:cubicBezTo>
                    <a:cubicBezTo>
                      <a:pt x="39" y="6"/>
                      <a:pt x="39" y="6"/>
                      <a:pt x="39" y="6"/>
                    </a:cubicBezTo>
                    <a:close/>
                    <a:moveTo>
                      <a:pt x="22" y="3"/>
                    </a:moveTo>
                    <a:cubicBezTo>
                      <a:pt x="22" y="0"/>
                      <a:pt x="22" y="0"/>
                      <a:pt x="22" y="0"/>
                    </a:cubicBezTo>
                    <a:cubicBezTo>
                      <a:pt x="25" y="0"/>
                      <a:pt x="28" y="0"/>
                      <a:pt x="30" y="0"/>
                    </a:cubicBezTo>
                    <a:cubicBezTo>
                      <a:pt x="30" y="3"/>
                      <a:pt x="30" y="3"/>
                      <a:pt x="30" y="3"/>
                    </a:cubicBezTo>
                    <a:cubicBezTo>
                      <a:pt x="28" y="2"/>
                      <a:pt x="25" y="2"/>
                      <a:pt x="22" y="3"/>
                    </a:cubicBezTo>
                    <a:close/>
                  </a:path>
                </a:pathLst>
              </a:custGeom>
              <a:solidFill>
                <a:srgbClr val="E5E8E8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 defTabSz="507523"/>
                <a:endParaRPr lang="en-US" sz="1998">
                  <a:solidFill>
                    <a:prstClr val="black"/>
                  </a:solidFill>
                  <a:latin typeface="Ebrima" panose="02000000000000000000" pitchFamily="2" charset="0"/>
                  <a:ea typeface="Ebrima" panose="02000000000000000000" pitchFamily="2" charset="0"/>
                  <a:cs typeface="Ebrima" panose="02000000000000000000" pitchFamily="2" charset="0"/>
                </a:endParaRPr>
              </a:p>
            </p:txBody>
          </p:sp>
        </p:grpSp>
        <p:sp>
          <p:nvSpPr>
            <p:cNvPr id="39" name="Rectangle 137">
              <a:extLst>
                <a:ext uri="{FF2B5EF4-FFF2-40B4-BE49-F238E27FC236}">
                  <a16:creationId xmlns:a16="http://schemas.microsoft.com/office/drawing/2014/main" id="{E1D62EA4-6BD2-4012-8251-800752401814}"/>
                </a:ext>
              </a:extLst>
            </p:cNvPr>
            <p:cNvSpPr/>
            <p:nvPr>
              <p:custDataLst>
                <p:tags r:id="rId30"/>
              </p:custDataLst>
            </p:nvPr>
          </p:nvSpPr>
          <p:spPr>
            <a:xfrm rot="16200000">
              <a:off x="-1272127" y="1987541"/>
              <a:ext cx="2313668" cy="510176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</p:spPr>
          <p:txBody>
            <a:bodyPr lIns="0" tIns="50729" rIns="0" bIns="50729" rtlCol="0" anchor="ctr"/>
            <a:lstStyle/>
            <a:p>
              <a:pPr algn="ctr" defTabSz="1014582">
                <a:defRPr/>
              </a:pPr>
              <a:r>
                <a:rPr lang="en-US" sz="1776" b="1" kern="0">
                  <a:solidFill>
                    <a:schemeClr val="tx2"/>
                  </a:solidFill>
                  <a:latin typeface="Ebrima" panose="02000000000000000000" pitchFamily="2" charset="0"/>
                  <a:ea typeface="Ebrima" panose="02000000000000000000" pitchFamily="2" charset="0"/>
                  <a:cs typeface="Ebrima" panose="02000000000000000000" pitchFamily="2" charset="0"/>
                </a:rPr>
                <a:t>Security Analytics</a:t>
              </a:r>
            </a:p>
          </p:txBody>
        </p:sp>
        <p:sp>
          <p:nvSpPr>
            <p:cNvPr id="40" name="Rectangle 143">
              <a:extLst>
                <a:ext uri="{FF2B5EF4-FFF2-40B4-BE49-F238E27FC236}">
                  <a16:creationId xmlns:a16="http://schemas.microsoft.com/office/drawing/2014/main" id="{467A2111-E617-47E7-874D-EAC9F0F27BBA}"/>
                </a:ext>
              </a:extLst>
            </p:cNvPr>
            <p:cNvSpPr/>
            <p:nvPr>
              <p:custDataLst>
                <p:tags r:id="rId31"/>
              </p:custDataLst>
            </p:nvPr>
          </p:nvSpPr>
          <p:spPr>
            <a:xfrm>
              <a:off x="2614615" y="1374149"/>
              <a:ext cx="1871010" cy="555927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</p:spPr>
          <p:txBody>
            <a:bodyPr lIns="0" tIns="50729" rIns="0" bIns="50729" rtlCol="0" anchor="ctr"/>
            <a:lstStyle/>
            <a:p>
              <a:pPr defTabSz="1014582"/>
              <a:r>
                <a:rPr lang="en-US" sz="1998" kern="0">
                  <a:solidFill>
                    <a:srgbClr val="87898B"/>
                  </a:solidFill>
                  <a:latin typeface="Ebrima" panose="02000000000000000000" pitchFamily="2" charset="0"/>
                  <a:ea typeface="Ebrima" panose="02000000000000000000" pitchFamily="2" charset="0"/>
                  <a:cs typeface="Ebrima" panose="02000000000000000000" pitchFamily="2" charset="0"/>
                </a:rPr>
                <a:t>Mobile Monitoring</a:t>
              </a:r>
            </a:p>
          </p:txBody>
        </p:sp>
        <p:sp>
          <p:nvSpPr>
            <p:cNvPr id="41" name="Rectangle 144">
              <a:extLst>
                <a:ext uri="{FF2B5EF4-FFF2-40B4-BE49-F238E27FC236}">
                  <a16:creationId xmlns:a16="http://schemas.microsoft.com/office/drawing/2014/main" id="{B9A297A2-FFFC-4C14-BA75-CA2DB2F2929F}"/>
                </a:ext>
              </a:extLst>
            </p:cNvPr>
            <p:cNvSpPr/>
            <p:nvPr>
              <p:custDataLst>
                <p:tags r:id="rId32"/>
              </p:custDataLst>
            </p:nvPr>
          </p:nvSpPr>
          <p:spPr>
            <a:xfrm rot="16200000">
              <a:off x="8334551" y="368880"/>
              <a:ext cx="878975" cy="510176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</p:spPr>
          <p:txBody>
            <a:bodyPr lIns="0" tIns="50729" rIns="0" bIns="50729" rtlCol="0" anchor="ctr"/>
            <a:lstStyle/>
            <a:p>
              <a:pPr defTabSz="1014582">
                <a:defRPr/>
              </a:pPr>
              <a:r>
                <a:rPr lang="en-US" sz="1998" kern="0">
                  <a:solidFill>
                    <a:schemeClr val="tx2"/>
                  </a:solidFill>
                  <a:latin typeface="Ebrima" panose="02000000000000000000" pitchFamily="2" charset="0"/>
                  <a:ea typeface="Ebrima" panose="02000000000000000000" pitchFamily="2" charset="0"/>
                  <a:cs typeface="Ebrima" panose="02000000000000000000" pitchFamily="2" charset="0"/>
                </a:rPr>
                <a:t>Security</a:t>
              </a:r>
              <a:endParaRPr lang="en-US" sz="2220" kern="0">
                <a:solidFill>
                  <a:schemeClr val="tx2"/>
                </a:solidFill>
                <a:latin typeface="Ebrima" panose="02000000000000000000" pitchFamily="2" charset="0"/>
                <a:ea typeface="Ebrima" panose="02000000000000000000" pitchFamily="2" charset="0"/>
                <a:cs typeface="Ebrima" panose="02000000000000000000" pitchFamily="2" charset="0"/>
              </a:endParaRPr>
            </a:p>
          </p:txBody>
        </p:sp>
        <p:sp>
          <p:nvSpPr>
            <p:cNvPr id="42" name="Rectangle 145">
              <a:extLst>
                <a:ext uri="{FF2B5EF4-FFF2-40B4-BE49-F238E27FC236}">
                  <a16:creationId xmlns:a16="http://schemas.microsoft.com/office/drawing/2014/main" id="{96403E08-1DD0-4005-B0B8-B1DDD80983D4}"/>
                </a:ext>
              </a:extLst>
            </p:cNvPr>
            <p:cNvSpPr/>
            <p:nvPr>
              <p:custDataLst>
                <p:tags r:id="rId33"/>
              </p:custDataLst>
            </p:nvPr>
          </p:nvSpPr>
          <p:spPr>
            <a:xfrm>
              <a:off x="3318588" y="4020131"/>
              <a:ext cx="834613" cy="459443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</p:spPr>
          <p:txBody>
            <a:bodyPr lIns="0" tIns="50729" rIns="0" bIns="50729" rtlCol="0" anchor="ctr"/>
            <a:lstStyle/>
            <a:p>
              <a:pPr defTabSz="1014582"/>
              <a:r>
                <a:rPr lang="en-US" sz="2220" kern="0">
                  <a:solidFill>
                    <a:srgbClr val="87898B"/>
                  </a:solidFill>
                  <a:latin typeface="Ebrima" panose="02000000000000000000" pitchFamily="2" charset="0"/>
                  <a:ea typeface="Ebrima" panose="02000000000000000000" pitchFamily="2" charset="0"/>
                  <a:cs typeface="Ebrima" panose="02000000000000000000" pitchFamily="2" charset="0"/>
                </a:rPr>
                <a:t>Virtual</a:t>
              </a:r>
            </a:p>
          </p:txBody>
        </p:sp>
        <p:grpSp>
          <p:nvGrpSpPr>
            <p:cNvPr id="43" name="Group 156">
              <a:extLst>
                <a:ext uri="{FF2B5EF4-FFF2-40B4-BE49-F238E27FC236}">
                  <a16:creationId xmlns:a16="http://schemas.microsoft.com/office/drawing/2014/main" id="{0598B6A8-7287-4DE6-ACE5-CC664549B806}"/>
                </a:ext>
              </a:extLst>
            </p:cNvPr>
            <p:cNvGrpSpPr/>
            <p:nvPr/>
          </p:nvGrpSpPr>
          <p:grpSpPr>
            <a:xfrm>
              <a:off x="1670277" y="1394371"/>
              <a:ext cx="687657" cy="486372"/>
              <a:chOff x="2051500" y="1709737"/>
              <a:chExt cx="567875" cy="422392"/>
            </a:xfrm>
          </p:grpSpPr>
          <p:sp>
            <p:nvSpPr>
              <p:cNvPr id="53" name="Rounded Rectangle 157">
                <a:extLst>
                  <a:ext uri="{FF2B5EF4-FFF2-40B4-BE49-F238E27FC236}">
                    <a16:creationId xmlns:a16="http://schemas.microsoft.com/office/drawing/2014/main" id="{E89DD598-7138-4951-9998-46E87B75C877}"/>
                  </a:ext>
                </a:extLst>
              </p:cNvPr>
              <p:cNvSpPr/>
              <p:nvPr/>
            </p:nvSpPr>
            <p:spPr>
              <a:xfrm>
                <a:off x="2307981" y="1709737"/>
                <a:ext cx="143241" cy="114761"/>
              </a:xfrm>
              <a:prstGeom prst="roundRect">
                <a:avLst/>
              </a:prstGeom>
              <a:solidFill>
                <a:schemeClr val="tx2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507523"/>
                <a:endParaRPr lang="en-US" sz="1998">
                  <a:solidFill>
                    <a:prstClr val="white"/>
                  </a:solidFill>
                  <a:latin typeface="Ebrima" panose="02000000000000000000" pitchFamily="2" charset="0"/>
                  <a:ea typeface="Ebrima" panose="02000000000000000000" pitchFamily="2" charset="0"/>
                  <a:cs typeface="Ebrima" panose="02000000000000000000" pitchFamily="2" charset="0"/>
                </a:endParaRPr>
              </a:p>
            </p:txBody>
          </p:sp>
          <p:sp>
            <p:nvSpPr>
              <p:cNvPr id="54" name="Rounded Rectangle 158">
                <a:extLst>
                  <a:ext uri="{FF2B5EF4-FFF2-40B4-BE49-F238E27FC236}">
                    <a16:creationId xmlns:a16="http://schemas.microsoft.com/office/drawing/2014/main" id="{5955D9C5-4BEA-4807-9D66-38AD4CD8B025}"/>
                  </a:ext>
                </a:extLst>
              </p:cNvPr>
              <p:cNvSpPr/>
              <p:nvPr/>
            </p:nvSpPr>
            <p:spPr>
              <a:xfrm>
                <a:off x="2133600" y="1858501"/>
                <a:ext cx="143241" cy="114761"/>
              </a:xfrm>
              <a:prstGeom prst="roundRect">
                <a:avLst/>
              </a:prstGeom>
              <a:solidFill>
                <a:schemeClr val="tx2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507523"/>
                <a:endParaRPr lang="en-US" sz="1998">
                  <a:solidFill>
                    <a:prstClr val="white"/>
                  </a:solidFill>
                  <a:latin typeface="Ebrima" panose="02000000000000000000" pitchFamily="2" charset="0"/>
                  <a:ea typeface="Ebrima" panose="02000000000000000000" pitchFamily="2" charset="0"/>
                  <a:cs typeface="Ebrima" panose="02000000000000000000" pitchFamily="2" charset="0"/>
                </a:endParaRPr>
              </a:p>
            </p:txBody>
          </p:sp>
          <p:sp>
            <p:nvSpPr>
              <p:cNvPr id="55" name="Rounded Rectangle 159">
                <a:extLst>
                  <a:ext uri="{FF2B5EF4-FFF2-40B4-BE49-F238E27FC236}">
                    <a16:creationId xmlns:a16="http://schemas.microsoft.com/office/drawing/2014/main" id="{E3C95DD5-3BF5-4491-954C-9E2B62D584E3}"/>
                  </a:ext>
                </a:extLst>
              </p:cNvPr>
              <p:cNvSpPr/>
              <p:nvPr/>
            </p:nvSpPr>
            <p:spPr>
              <a:xfrm>
                <a:off x="2307981" y="1856376"/>
                <a:ext cx="143241" cy="114761"/>
              </a:xfrm>
              <a:prstGeom prst="roundRect">
                <a:avLst/>
              </a:prstGeom>
              <a:solidFill>
                <a:schemeClr val="accent4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507523"/>
                <a:endParaRPr lang="en-US" sz="1998">
                  <a:solidFill>
                    <a:prstClr val="white"/>
                  </a:solidFill>
                  <a:latin typeface="Ebrima" panose="02000000000000000000" pitchFamily="2" charset="0"/>
                  <a:ea typeface="Ebrima" panose="02000000000000000000" pitchFamily="2" charset="0"/>
                  <a:cs typeface="Ebrima" panose="02000000000000000000" pitchFamily="2" charset="0"/>
                </a:endParaRPr>
              </a:p>
            </p:txBody>
          </p:sp>
          <p:sp>
            <p:nvSpPr>
              <p:cNvPr id="56" name="Rounded Rectangle 160">
                <a:extLst>
                  <a:ext uri="{FF2B5EF4-FFF2-40B4-BE49-F238E27FC236}">
                    <a16:creationId xmlns:a16="http://schemas.microsoft.com/office/drawing/2014/main" id="{4DB9A439-90BC-45F9-981F-7E285237F3C2}"/>
                  </a:ext>
                </a:extLst>
              </p:cNvPr>
              <p:cNvSpPr/>
              <p:nvPr/>
            </p:nvSpPr>
            <p:spPr>
              <a:xfrm>
                <a:off x="2476134" y="1856376"/>
                <a:ext cx="143241" cy="114761"/>
              </a:xfrm>
              <a:prstGeom prst="roundRect">
                <a:avLst/>
              </a:prstGeom>
              <a:solidFill>
                <a:schemeClr val="tx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507523"/>
                <a:endParaRPr lang="en-US" sz="1998">
                  <a:solidFill>
                    <a:prstClr val="white"/>
                  </a:solidFill>
                  <a:latin typeface="Ebrima" panose="02000000000000000000" pitchFamily="2" charset="0"/>
                  <a:ea typeface="Ebrima" panose="02000000000000000000" pitchFamily="2" charset="0"/>
                  <a:cs typeface="Ebrima" panose="02000000000000000000" pitchFamily="2" charset="0"/>
                </a:endParaRPr>
              </a:p>
            </p:txBody>
          </p:sp>
          <p:cxnSp>
            <p:nvCxnSpPr>
              <p:cNvPr id="57" name="Elbow Connector 161">
                <a:extLst>
                  <a:ext uri="{FF2B5EF4-FFF2-40B4-BE49-F238E27FC236}">
                    <a16:creationId xmlns:a16="http://schemas.microsoft.com/office/drawing/2014/main" id="{4FD843B0-AFFB-4563-89E6-D82A1FDFE9DE}"/>
                  </a:ext>
                </a:extLst>
              </p:cNvPr>
              <p:cNvCxnSpPr>
                <a:cxnSpLocks/>
                <a:stCxn id="53" idx="2"/>
                <a:endCxn id="54" idx="0"/>
              </p:cNvCxnSpPr>
              <p:nvPr/>
            </p:nvCxnSpPr>
            <p:spPr>
              <a:xfrm rot="5400000">
                <a:off x="2275409" y="1754309"/>
                <a:ext cx="34003" cy="174381"/>
              </a:xfrm>
              <a:prstGeom prst="bentConnector3">
                <a:avLst/>
              </a:prstGeom>
              <a:ln w="12700" cmpd="sng">
                <a:solidFill>
                  <a:schemeClr val="accent1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8" name="Elbow Connector 162">
                <a:extLst>
                  <a:ext uri="{FF2B5EF4-FFF2-40B4-BE49-F238E27FC236}">
                    <a16:creationId xmlns:a16="http://schemas.microsoft.com/office/drawing/2014/main" id="{74ADDFA5-CAFF-4BFF-9250-1DB068F38EC5}"/>
                  </a:ext>
                </a:extLst>
              </p:cNvPr>
              <p:cNvCxnSpPr>
                <a:cxnSpLocks/>
                <a:stCxn id="53" idx="2"/>
                <a:endCxn id="55" idx="0"/>
              </p:cNvCxnSpPr>
              <p:nvPr/>
            </p:nvCxnSpPr>
            <p:spPr>
              <a:xfrm rot="5400000">
                <a:off x="2363662" y="1841195"/>
                <a:ext cx="31878" cy="4152"/>
              </a:xfrm>
              <a:prstGeom prst="bentConnector3">
                <a:avLst>
                  <a:gd name="adj1" fmla="val 50000"/>
                </a:avLst>
              </a:prstGeom>
              <a:ln w="12700" cmpd="sng">
                <a:solidFill>
                  <a:schemeClr val="accent1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9" name="Elbow Connector 163">
                <a:extLst>
                  <a:ext uri="{FF2B5EF4-FFF2-40B4-BE49-F238E27FC236}">
                    <a16:creationId xmlns:a16="http://schemas.microsoft.com/office/drawing/2014/main" id="{58025631-A8CC-4792-8DF0-995D64E9CA30}"/>
                  </a:ext>
                </a:extLst>
              </p:cNvPr>
              <p:cNvCxnSpPr>
                <a:cxnSpLocks/>
                <a:stCxn id="53" idx="2"/>
                <a:endCxn id="56" idx="0"/>
              </p:cNvCxnSpPr>
              <p:nvPr/>
            </p:nvCxnSpPr>
            <p:spPr>
              <a:xfrm rot="16200000" flipH="1">
                <a:off x="2447739" y="1756361"/>
                <a:ext cx="31878" cy="168153"/>
              </a:xfrm>
              <a:prstGeom prst="bentConnector3">
                <a:avLst/>
              </a:prstGeom>
              <a:ln w="12700" cmpd="sng">
                <a:solidFill>
                  <a:schemeClr val="accent1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60" name="Rounded Rectangle 164">
                <a:extLst>
                  <a:ext uri="{FF2B5EF4-FFF2-40B4-BE49-F238E27FC236}">
                    <a16:creationId xmlns:a16="http://schemas.microsoft.com/office/drawing/2014/main" id="{EE34B382-0430-48AB-90DA-42D21AF5F6C0}"/>
                  </a:ext>
                </a:extLst>
              </p:cNvPr>
              <p:cNvSpPr/>
              <p:nvPr/>
            </p:nvSpPr>
            <p:spPr>
              <a:xfrm>
                <a:off x="2051500" y="2017368"/>
                <a:ext cx="143241" cy="114761"/>
              </a:xfrm>
              <a:prstGeom prst="roundRect">
                <a:avLst/>
              </a:prstGeom>
              <a:solidFill>
                <a:schemeClr val="tx2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507523"/>
                <a:endParaRPr lang="en-US" sz="1998">
                  <a:solidFill>
                    <a:prstClr val="white"/>
                  </a:solidFill>
                  <a:latin typeface="Ebrima" panose="02000000000000000000" pitchFamily="2" charset="0"/>
                  <a:ea typeface="Ebrima" panose="02000000000000000000" pitchFamily="2" charset="0"/>
                  <a:cs typeface="Ebrima" panose="02000000000000000000" pitchFamily="2" charset="0"/>
                </a:endParaRPr>
              </a:p>
            </p:txBody>
          </p:sp>
          <p:sp>
            <p:nvSpPr>
              <p:cNvPr id="61" name="Rounded Rectangle 165">
                <a:extLst>
                  <a:ext uri="{FF2B5EF4-FFF2-40B4-BE49-F238E27FC236}">
                    <a16:creationId xmlns:a16="http://schemas.microsoft.com/office/drawing/2014/main" id="{CA077A77-70DC-46ED-BD16-E404B364EA61}"/>
                  </a:ext>
                </a:extLst>
              </p:cNvPr>
              <p:cNvSpPr/>
              <p:nvPr/>
            </p:nvSpPr>
            <p:spPr>
              <a:xfrm>
                <a:off x="2225881" y="2015243"/>
                <a:ext cx="143241" cy="114761"/>
              </a:xfrm>
              <a:prstGeom prst="roundRect">
                <a:avLst/>
              </a:prstGeom>
              <a:solidFill>
                <a:schemeClr val="tx2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507523"/>
                <a:endParaRPr lang="en-US" sz="1998">
                  <a:solidFill>
                    <a:prstClr val="white"/>
                  </a:solidFill>
                  <a:latin typeface="Ebrima" panose="02000000000000000000" pitchFamily="2" charset="0"/>
                  <a:ea typeface="Ebrima" panose="02000000000000000000" pitchFamily="2" charset="0"/>
                  <a:cs typeface="Ebrima" panose="02000000000000000000" pitchFamily="2" charset="0"/>
                </a:endParaRPr>
              </a:p>
            </p:txBody>
          </p:sp>
          <p:cxnSp>
            <p:nvCxnSpPr>
              <p:cNvPr id="62" name="Elbow Connector 166">
                <a:extLst>
                  <a:ext uri="{FF2B5EF4-FFF2-40B4-BE49-F238E27FC236}">
                    <a16:creationId xmlns:a16="http://schemas.microsoft.com/office/drawing/2014/main" id="{FB0919F5-AD1A-4B24-A3DD-71ED407580B7}"/>
                  </a:ext>
                </a:extLst>
              </p:cNvPr>
              <p:cNvCxnSpPr>
                <a:cxnSpLocks/>
                <a:stCxn id="54" idx="2"/>
                <a:endCxn id="60" idx="0"/>
              </p:cNvCxnSpPr>
              <p:nvPr/>
            </p:nvCxnSpPr>
            <p:spPr>
              <a:xfrm rot="5400000">
                <a:off x="2142118" y="1954265"/>
                <a:ext cx="44106" cy="82100"/>
              </a:xfrm>
              <a:prstGeom prst="bentConnector3">
                <a:avLst/>
              </a:prstGeom>
              <a:ln w="12700" cmpd="sng">
                <a:solidFill>
                  <a:schemeClr val="accent1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3" name="Elbow Connector 167">
                <a:extLst>
                  <a:ext uri="{FF2B5EF4-FFF2-40B4-BE49-F238E27FC236}">
                    <a16:creationId xmlns:a16="http://schemas.microsoft.com/office/drawing/2014/main" id="{42FFF794-3BE3-420B-8C71-B42890FEE5FC}"/>
                  </a:ext>
                </a:extLst>
              </p:cNvPr>
              <p:cNvCxnSpPr>
                <a:cxnSpLocks/>
                <a:stCxn id="54" idx="2"/>
                <a:endCxn id="61" idx="0"/>
              </p:cNvCxnSpPr>
              <p:nvPr/>
            </p:nvCxnSpPr>
            <p:spPr>
              <a:xfrm rot="16200000" flipH="1">
                <a:off x="2230371" y="1948111"/>
                <a:ext cx="41981" cy="92281"/>
              </a:xfrm>
              <a:prstGeom prst="bentConnector3">
                <a:avLst>
                  <a:gd name="adj1" fmla="val 50000"/>
                </a:avLst>
              </a:prstGeom>
              <a:ln w="12700" cmpd="sng">
                <a:solidFill>
                  <a:schemeClr val="accent1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44" name="Rectangle 168">
              <a:extLst>
                <a:ext uri="{FF2B5EF4-FFF2-40B4-BE49-F238E27FC236}">
                  <a16:creationId xmlns:a16="http://schemas.microsoft.com/office/drawing/2014/main" id="{DAF7A171-FDB3-4B0A-8064-B53D6C4630A0}"/>
                </a:ext>
              </a:extLst>
            </p:cNvPr>
            <p:cNvSpPr/>
            <p:nvPr>
              <p:custDataLst>
                <p:tags r:id="rId34"/>
              </p:custDataLst>
            </p:nvPr>
          </p:nvSpPr>
          <p:spPr>
            <a:xfrm>
              <a:off x="347897" y="1233882"/>
              <a:ext cx="1558985" cy="459443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</p:spPr>
          <p:txBody>
            <a:bodyPr lIns="0" tIns="50729" rIns="0" bIns="50729" rtlCol="0" anchor="ctr"/>
            <a:lstStyle/>
            <a:p>
              <a:pPr defTabSz="1014582"/>
              <a:r>
                <a:rPr lang="en-US" sz="2220" kern="0">
                  <a:solidFill>
                    <a:srgbClr val="87898B"/>
                  </a:solidFill>
                  <a:latin typeface="Ebrima" panose="02000000000000000000" pitchFamily="2" charset="0"/>
                  <a:ea typeface="Ebrima" panose="02000000000000000000" pitchFamily="2" charset="0"/>
                  <a:cs typeface="Ebrima" panose="02000000000000000000" pitchFamily="2" charset="0"/>
                </a:rPr>
                <a:t>IT operations</a:t>
              </a:r>
            </a:p>
          </p:txBody>
        </p:sp>
        <p:sp>
          <p:nvSpPr>
            <p:cNvPr id="45" name="Rectangle 169">
              <a:extLst>
                <a:ext uri="{FF2B5EF4-FFF2-40B4-BE49-F238E27FC236}">
                  <a16:creationId xmlns:a16="http://schemas.microsoft.com/office/drawing/2014/main" id="{32A58E15-46AB-4522-9228-2E1DA6F03606}"/>
                </a:ext>
              </a:extLst>
            </p:cNvPr>
            <p:cNvSpPr/>
            <p:nvPr>
              <p:custDataLst>
                <p:tags r:id="rId35"/>
              </p:custDataLst>
            </p:nvPr>
          </p:nvSpPr>
          <p:spPr>
            <a:xfrm>
              <a:off x="2944652" y="3131726"/>
              <a:ext cx="3154162" cy="555927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</p:spPr>
          <p:txBody>
            <a:bodyPr lIns="0" tIns="50729" rIns="0" bIns="50729" rtlCol="0" anchor="ctr"/>
            <a:lstStyle/>
            <a:p>
              <a:pPr defTabSz="1014582"/>
              <a:r>
                <a:rPr lang="en-US" sz="1998" b="1" kern="0">
                  <a:solidFill>
                    <a:srgbClr val="87898B"/>
                  </a:solidFill>
                  <a:latin typeface="Ebrima" panose="02000000000000000000" pitchFamily="2" charset="0"/>
                  <a:ea typeface="Ebrima" panose="02000000000000000000" pitchFamily="2" charset="0"/>
                  <a:cs typeface="Ebrima" panose="02000000000000000000" pitchFamily="2" charset="0"/>
                </a:rPr>
                <a:t>Systems Monitoring</a:t>
              </a:r>
            </a:p>
          </p:txBody>
        </p:sp>
        <p:sp>
          <p:nvSpPr>
            <p:cNvPr id="46" name="Freeform 57">
              <a:extLst>
                <a:ext uri="{FF2B5EF4-FFF2-40B4-BE49-F238E27FC236}">
                  <a16:creationId xmlns:a16="http://schemas.microsoft.com/office/drawing/2014/main" id="{BB92E6DE-A73B-414C-BDDE-53D6D14FBD62}"/>
                </a:ext>
              </a:extLst>
            </p:cNvPr>
            <p:cNvSpPr>
              <a:spLocks/>
            </p:cNvSpPr>
            <p:nvPr/>
          </p:nvSpPr>
          <p:spPr bwMode="auto">
            <a:xfrm>
              <a:off x="4533028" y="3558012"/>
              <a:ext cx="466932" cy="694384"/>
            </a:xfrm>
            <a:custGeom>
              <a:avLst/>
              <a:gdLst>
                <a:gd name="T0" fmla="*/ 1019222987 w 46"/>
                <a:gd name="T1" fmla="*/ 0 h 64"/>
                <a:gd name="T2" fmla="*/ 1019222987 w 46"/>
                <a:gd name="T3" fmla="*/ 0 h 64"/>
                <a:gd name="T4" fmla="*/ 1267140107 w 46"/>
                <a:gd name="T5" fmla="*/ 248390734 h 64"/>
                <a:gd name="T6" fmla="*/ 1267140107 w 46"/>
                <a:gd name="T7" fmla="*/ 1766352784 h 64"/>
                <a:gd name="T8" fmla="*/ 220373105 w 46"/>
                <a:gd name="T9" fmla="*/ 1766352784 h 64"/>
                <a:gd name="T10" fmla="*/ 0 w 46"/>
                <a:gd name="T11" fmla="*/ 1517956797 h 64"/>
                <a:gd name="T12" fmla="*/ 0 w 46"/>
                <a:gd name="T13" fmla="*/ 0 h 64"/>
                <a:gd name="T14" fmla="*/ 1019222987 w 46"/>
                <a:gd name="T15" fmla="*/ 0 h 64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46"/>
                <a:gd name="T25" fmla="*/ 0 h 64"/>
                <a:gd name="T26" fmla="*/ 46 w 46"/>
                <a:gd name="T27" fmla="*/ 64 h 64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46" h="64">
                  <a:moveTo>
                    <a:pt x="37" y="0"/>
                  </a:moveTo>
                  <a:cubicBezTo>
                    <a:pt x="37" y="0"/>
                    <a:pt x="37" y="0"/>
                    <a:pt x="37" y="0"/>
                  </a:cubicBezTo>
                  <a:cubicBezTo>
                    <a:pt x="43" y="0"/>
                    <a:pt x="46" y="3"/>
                    <a:pt x="46" y="9"/>
                  </a:cubicBezTo>
                  <a:cubicBezTo>
                    <a:pt x="46" y="64"/>
                    <a:pt x="46" y="64"/>
                    <a:pt x="46" y="64"/>
                  </a:cubicBezTo>
                  <a:cubicBezTo>
                    <a:pt x="8" y="64"/>
                    <a:pt x="8" y="64"/>
                    <a:pt x="8" y="64"/>
                  </a:cubicBezTo>
                  <a:cubicBezTo>
                    <a:pt x="2" y="64"/>
                    <a:pt x="0" y="61"/>
                    <a:pt x="0" y="5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7" y="0"/>
                    <a:pt x="37" y="0"/>
                    <a:pt x="37" y="0"/>
                  </a:cubicBezTo>
                  <a:close/>
                </a:path>
              </a:pathLst>
            </a:custGeom>
            <a:solidFill>
              <a:schemeClr val="accent2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507523"/>
              <a:endParaRPr lang="en-US" sz="1998">
                <a:solidFill>
                  <a:schemeClr val="accent4"/>
                </a:solidFill>
                <a:latin typeface="Ebrima" panose="02000000000000000000" pitchFamily="2" charset="0"/>
                <a:ea typeface="Ebrima" panose="02000000000000000000" pitchFamily="2" charset="0"/>
                <a:cs typeface="Ebrima" panose="02000000000000000000" pitchFamily="2" charset="0"/>
              </a:endParaRPr>
            </a:p>
          </p:txBody>
        </p:sp>
        <p:cxnSp>
          <p:nvCxnSpPr>
            <p:cNvPr id="47" name="Straight Connector 11">
              <a:extLst>
                <a:ext uri="{FF2B5EF4-FFF2-40B4-BE49-F238E27FC236}">
                  <a16:creationId xmlns:a16="http://schemas.microsoft.com/office/drawing/2014/main" id="{5A9441FC-3592-4388-8397-DBFB3E871CFE}"/>
                </a:ext>
              </a:extLst>
            </p:cNvPr>
            <p:cNvCxnSpPr/>
            <p:nvPr/>
          </p:nvCxnSpPr>
          <p:spPr>
            <a:xfrm>
              <a:off x="4520688" y="3679592"/>
              <a:ext cx="366422" cy="0"/>
            </a:xfrm>
            <a:prstGeom prst="line">
              <a:avLst/>
            </a:prstGeom>
            <a:ln w="34925" cmpd="sng">
              <a:solidFill>
                <a:schemeClr val="accent6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173">
              <a:extLst>
                <a:ext uri="{FF2B5EF4-FFF2-40B4-BE49-F238E27FC236}">
                  <a16:creationId xmlns:a16="http://schemas.microsoft.com/office/drawing/2014/main" id="{C72330D5-464A-4179-B395-2D01795F2F16}"/>
                </a:ext>
              </a:extLst>
            </p:cNvPr>
            <p:cNvCxnSpPr/>
            <p:nvPr/>
          </p:nvCxnSpPr>
          <p:spPr>
            <a:xfrm>
              <a:off x="4520688" y="3764141"/>
              <a:ext cx="366422" cy="0"/>
            </a:xfrm>
            <a:prstGeom prst="line">
              <a:avLst/>
            </a:prstGeom>
            <a:ln w="34925" cmpd="sng">
              <a:solidFill>
                <a:schemeClr val="accent6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Straight Connector 174">
              <a:extLst>
                <a:ext uri="{FF2B5EF4-FFF2-40B4-BE49-F238E27FC236}">
                  <a16:creationId xmlns:a16="http://schemas.microsoft.com/office/drawing/2014/main" id="{5A9C9A97-D868-4D42-8423-1C44D3BE1A5F}"/>
                </a:ext>
              </a:extLst>
            </p:cNvPr>
            <p:cNvCxnSpPr/>
            <p:nvPr/>
          </p:nvCxnSpPr>
          <p:spPr>
            <a:xfrm>
              <a:off x="4520688" y="3848691"/>
              <a:ext cx="366422" cy="0"/>
            </a:xfrm>
            <a:prstGeom prst="line">
              <a:avLst/>
            </a:prstGeom>
            <a:ln w="34925" cmpd="sng">
              <a:solidFill>
                <a:schemeClr val="accent6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50" name="Freeform 6">
              <a:extLst>
                <a:ext uri="{FF2B5EF4-FFF2-40B4-BE49-F238E27FC236}">
                  <a16:creationId xmlns:a16="http://schemas.microsoft.com/office/drawing/2014/main" id="{81935981-C456-4BF6-A635-177C6FB9AD18}"/>
                </a:ext>
              </a:extLst>
            </p:cNvPr>
            <p:cNvSpPr>
              <a:spLocks/>
            </p:cNvSpPr>
            <p:nvPr/>
          </p:nvSpPr>
          <p:spPr bwMode="auto">
            <a:xfrm>
              <a:off x="8006820" y="267028"/>
              <a:ext cx="600733" cy="717019"/>
            </a:xfrm>
            <a:custGeom>
              <a:avLst/>
              <a:gdLst>
                <a:gd name="T0" fmla="*/ 112 w 225"/>
                <a:gd name="T1" fmla="*/ 239 h 239"/>
                <a:gd name="T2" fmla="*/ 203 w 225"/>
                <a:gd name="T3" fmla="*/ 160 h 239"/>
                <a:gd name="T4" fmla="*/ 221 w 225"/>
                <a:gd name="T5" fmla="*/ 26 h 239"/>
                <a:gd name="T6" fmla="*/ 112 w 225"/>
                <a:gd name="T7" fmla="*/ 0 h 239"/>
                <a:gd name="T8" fmla="*/ 4 w 225"/>
                <a:gd name="T9" fmla="*/ 26 h 239"/>
                <a:gd name="T10" fmla="*/ 22 w 225"/>
                <a:gd name="T11" fmla="*/ 160 h 239"/>
                <a:gd name="T12" fmla="*/ 112 w 225"/>
                <a:gd name="T13" fmla="*/ 239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5" h="239">
                  <a:moveTo>
                    <a:pt x="112" y="239"/>
                  </a:moveTo>
                  <a:cubicBezTo>
                    <a:pt x="158" y="222"/>
                    <a:pt x="187" y="194"/>
                    <a:pt x="203" y="160"/>
                  </a:cubicBezTo>
                  <a:cubicBezTo>
                    <a:pt x="225" y="111"/>
                    <a:pt x="221" y="26"/>
                    <a:pt x="221" y="26"/>
                  </a:cubicBezTo>
                  <a:cubicBezTo>
                    <a:pt x="153" y="26"/>
                    <a:pt x="112" y="0"/>
                    <a:pt x="112" y="0"/>
                  </a:cubicBezTo>
                  <a:cubicBezTo>
                    <a:pt x="112" y="0"/>
                    <a:pt x="71" y="26"/>
                    <a:pt x="4" y="26"/>
                  </a:cubicBezTo>
                  <a:cubicBezTo>
                    <a:pt x="4" y="26"/>
                    <a:pt x="0" y="111"/>
                    <a:pt x="22" y="160"/>
                  </a:cubicBezTo>
                  <a:cubicBezTo>
                    <a:pt x="38" y="194"/>
                    <a:pt x="67" y="222"/>
                    <a:pt x="112" y="239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101506" tIns="50752" rIns="101506" bIns="50752" numCol="1" anchor="t" anchorCtr="0" compatLnSpc="1">
              <a:prstTxWarp prst="textNoShape">
                <a:avLst/>
              </a:prstTxWarp>
            </a:bodyPr>
            <a:lstStyle/>
            <a:p>
              <a:pPr defTabSz="507523"/>
              <a:endParaRPr lang="en-US" sz="1998">
                <a:solidFill>
                  <a:prstClr val="black"/>
                </a:solidFill>
                <a:latin typeface="Ebrima" panose="02000000000000000000" pitchFamily="2" charset="0"/>
                <a:ea typeface="Ebrima" panose="02000000000000000000" pitchFamily="2" charset="0"/>
                <a:cs typeface="Ebrima" panose="02000000000000000000" pitchFamily="2" charset="0"/>
              </a:endParaRPr>
            </a:p>
          </p:txBody>
        </p:sp>
        <p:sp>
          <p:nvSpPr>
            <p:cNvPr id="51" name="Freeform 178">
              <a:extLst>
                <a:ext uri="{FF2B5EF4-FFF2-40B4-BE49-F238E27FC236}">
                  <a16:creationId xmlns:a16="http://schemas.microsoft.com/office/drawing/2014/main" id="{0636A85F-6570-404A-B136-901407A434EB}"/>
                </a:ext>
              </a:extLst>
            </p:cNvPr>
            <p:cNvSpPr>
              <a:spLocks/>
            </p:cNvSpPr>
            <p:nvPr/>
          </p:nvSpPr>
          <p:spPr bwMode="auto">
            <a:xfrm>
              <a:off x="8101861" y="344982"/>
              <a:ext cx="428010" cy="510862"/>
            </a:xfrm>
            <a:custGeom>
              <a:avLst/>
              <a:gdLst>
                <a:gd name="T0" fmla="*/ 112 w 225"/>
                <a:gd name="T1" fmla="*/ 239 h 239"/>
                <a:gd name="T2" fmla="*/ 203 w 225"/>
                <a:gd name="T3" fmla="*/ 160 h 239"/>
                <a:gd name="T4" fmla="*/ 221 w 225"/>
                <a:gd name="T5" fmla="*/ 26 h 239"/>
                <a:gd name="T6" fmla="*/ 112 w 225"/>
                <a:gd name="T7" fmla="*/ 0 h 239"/>
                <a:gd name="T8" fmla="*/ 4 w 225"/>
                <a:gd name="T9" fmla="*/ 26 h 239"/>
                <a:gd name="T10" fmla="*/ 22 w 225"/>
                <a:gd name="T11" fmla="*/ 160 h 239"/>
                <a:gd name="T12" fmla="*/ 112 w 225"/>
                <a:gd name="T13" fmla="*/ 239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5" h="239">
                  <a:moveTo>
                    <a:pt x="112" y="239"/>
                  </a:moveTo>
                  <a:cubicBezTo>
                    <a:pt x="158" y="222"/>
                    <a:pt x="187" y="194"/>
                    <a:pt x="203" y="160"/>
                  </a:cubicBezTo>
                  <a:cubicBezTo>
                    <a:pt x="225" y="111"/>
                    <a:pt x="221" y="26"/>
                    <a:pt x="221" y="26"/>
                  </a:cubicBezTo>
                  <a:cubicBezTo>
                    <a:pt x="153" y="26"/>
                    <a:pt x="112" y="0"/>
                    <a:pt x="112" y="0"/>
                  </a:cubicBezTo>
                  <a:cubicBezTo>
                    <a:pt x="112" y="0"/>
                    <a:pt x="71" y="26"/>
                    <a:pt x="4" y="26"/>
                  </a:cubicBezTo>
                  <a:cubicBezTo>
                    <a:pt x="4" y="26"/>
                    <a:pt x="0" y="111"/>
                    <a:pt x="22" y="160"/>
                  </a:cubicBezTo>
                  <a:cubicBezTo>
                    <a:pt x="38" y="194"/>
                    <a:pt x="67" y="222"/>
                    <a:pt x="112" y="239"/>
                  </a:cubicBezTo>
                  <a:close/>
                </a:path>
              </a:pathLst>
            </a:custGeom>
            <a:noFill/>
            <a:ln w="38100" cmpd="sng">
              <a:solidFill>
                <a:schemeClr val="bg1"/>
              </a:solidFill>
            </a:ln>
          </p:spPr>
          <p:txBody>
            <a:bodyPr vert="horz" wrap="square" lIns="101506" tIns="50752" rIns="101506" bIns="50752" numCol="1" anchor="t" anchorCtr="0" compatLnSpc="1">
              <a:prstTxWarp prst="textNoShape">
                <a:avLst/>
              </a:prstTxWarp>
            </a:bodyPr>
            <a:lstStyle/>
            <a:p>
              <a:pPr defTabSz="507523"/>
              <a:endParaRPr lang="en-US" sz="1998">
                <a:solidFill>
                  <a:prstClr val="black"/>
                </a:solidFill>
                <a:latin typeface="Ebrima" panose="02000000000000000000" pitchFamily="2" charset="0"/>
                <a:ea typeface="Ebrima" panose="02000000000000000000" pitchFamily="2" charset="0"/>
                <a:cs typeface="Ebrima" panose="02000000000000000000" pitchFamily="2" charset="0"/>
              </a:endParaRPr>
            </a:p>
          </p:txBody>
        </p:sp>
        <p:cxnSp>
          <p:nvCxnSpPr>
            <p:cNvPr id="52" name="Straight Arrow Connector 141">
              <a:extLst>
                <a:ext uri="{FF2B5EF4-FFF2-40B4-BE49-F238E27FC236}">
                  <a16:creationId xmlns:a16="http://schemas.microsoft.com/office/drawing/2014/main" id="{3A1BB2BD-391E-44F6-B792-D8F7AE11D4E6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4484886" y="752393"/>
              <a:ext cx="206529" cy="3283578"/>
            </a:xfrm>
            <a:prstGeom prst="straightConnector1">
              <a:avLst/>
            </a:prstGeom>
            <a:ln w="28575">
              <a:noFill/>
              <a:tailEnd type="arrow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40" name="Title 3">
            <a:extLst>
              <a:ext uri="{FF2B5EF4-FFF2-40B4-BE49-F238E27FC236}">
                <a16:creationId xmlns:a16="http://schemas.microsoft.com/office/drawing/2014/main" id="{90A7AF8C-0294-419F-AC2C-7EA93BC99518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 bwMode="black">
          <a:xfrm>
            <a:off x="3098156" y="5365499"/>
            <a:ext cx="4460496" cy="51480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lvl1pPr algn="l" defTabSz="4572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 lang="en-GB" sz="2800" b="1" i="0" kern="1200" dirty="0" smtClean="0">
                <a:solidFill>
                  <a:srgbClr val="000000"/>
                </a:solidFill>
                <a:latin typeface="HP Simplified" pitchFamily="34" charset="0"/>
                <a:ea typeface="+mj-ea"/>
                <a:cs typeface="HP Simplified" pitchFamily="34" charset="0"/>
              </a:defRPr>
            </a:lvl1pPr>
          </a:lstStyle>
          <a:p>
            <a:r>
              <a:rPr lang="en-US" sz="2400">
                <a:solidFill>
                  <a:schemeClr val="tx2"/>
                </a:solidFill>
                <a:latin typeface="Ebrima" panose="02000000000000000000" pitchFamily="2" charset="0"/>
                <a:ea typeface="Ebrima" panose="02000000000000000000" pitchFamily="2" charset="0"/>
                <a:cs typeface="Ebrima" panose="02000000000000000000" pitchFamily="2" charset="0"/>
              </a:rPr>
              <a:t>Contextual Security Intelligence</a:t>
            </a:r>
          </a:p>
        </p:txBody>
      </p:sp>
      <p:pic>
        <p:nvPicPr>
          <p:cNvPr id="141" name="Picture 5" descr="E:\My Files\Grafika\Balabit\Ábrák\CSI\icon04.png">
            <a:extLst>
              <a:ext uri="{FF2B5EF4-FFF2-40B4-BE49-F238E27FC236}">
                <a16:creationId xmlns:a16="http://schemas.microsoft.com/office/drawing/2014/main" id="{728BD30D-3A56-47BC-B473-19070D6D4FA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7" cstate="print"/>
          <a:srcRect/>
          <a:stretch>
            <a:fillRect/>
          </a:stretch>
        </p:blipFill>
        <p:spPr bwMode="auto">
          <a:xfrm>
            <a:off x="8724338" y="5285065"/>
            <a:ext cx="502773" cy="487842"/>
          </a:xfrm>
          <a:prstGeom prst="rect">
            <a:avLst/>
          </a:prstGeom>
          <a:noFill/>
        </p:spPr>
      </p:pic>
      <p:pic>
        <p:nvPicPr>
          <p:cNvPr id="142" name="Picture 3" descr="E:\My Files\Downloads\data-analytics (1).png">
            <a:extLst>
              <a:ext uri="{FF2B5EF4-FFF2-40B4-BE49-F238E27FC236}">
                <a16:creationId xmlns:a16="http://schemas.microsoft.com/office/drawing/2014/main" id="{383517AF-44DB-4264-BBD8-CBB97B97D2F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8" cstate="print"/>
          <a:srcRect/>
          <a:stretch>
            <a:fillRect/>
          </a:stretch>
        </p:blipFill>
        <p:spPr bwMode="auto">
          <a:xfrm>
            <a:off x="2406607" y="5412956"/>
            <a:ext cx="618324" cy="618324"/>
          </a:xfrm>
          <a:prstGeom prst="rect">
            <a:avLst/>
          </a:prstGeom>
          <a:solidFill>
            <a:schemeClr val="accent1">
              <a:alpha val="56000"/>
            </a:schemeClr>
          </a:solidFill>
          <a:ln>
            <a:solidFill>
              <a:schemeClr val="tx1"/>
            </a:solidFill>
          </a:ln>
        </p:spPr>
      </p:pic>
      <p:sp>
        <p:nvSpPr>
          <p:cNvPr id="143" name="Title 3">
            <a:extLst>
              <a:ext uri="{FF2B5EF4-FFF2-40B4-BE49-F238E27FC236}">
                <a16:creationId xmlns:a16="http://schemas.microsoft.com/office/drawing/2014/main" id="{0597D2B1-5D42-4846-ADC8-02364424DC05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 bwMode="black">
          <a:xfrm>
            <a:off x="7703094" y="1615783"/>
            <a:ext cx="4460496" cy="51480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lvl1pPr algn="l" defTabSz="4572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 lang="en-GB" sz="2800" b="1" i="0" kern="1200" dirty="0" smtClean="0">
                <a:solidFill>
                  <a:srgbClr val="000000"/>
                </a:solidFill>
                <a:latin typeface="HP Simplified" pitchFamily="34" charset="0"/>
                <a:ea typeface="+mj-ea"/>
                <a:cs typeface="HP Simplified" pitchFamily="34" charset="0"/>
              </a:defRPr>
            </a:lvl1pPr>
          </a:lstStyle>
          <a:p>
            <a:r>
              <a:rPr lang="en-US" sz="2400">
                <a:solidFill>
                  <a:schemeClr val="tx1"/>
                </a:solidFill>
                <a:latin typeface="Ebrima" panose="02000000000000000000" pitchFamily="2" charset="0"/>
                <a:ea typeface="Ebrima" panose="02000000000000000000" pitchFamily="2" charset="0"/>
                <a:cs typeface="Ebrima" panose="02000000000000000000" pitchFamily="2" charset="0"/>
              </a:rPr>
              <a:t>User Behavior Anomaly</a:t>
            </a:r>
          </a:p>
        </p:txBody>
      </p:sp>
      <p:pic>
        <p:nvPicPr>
          <p:cNvPr id="144" name="Picture 4" descr="E:\My Files\Downloads\emergency1.png">
            <a:extLst>
              <a:ext uri="{FF2B5EF4-FFF2-40B4-BE49-F238E27FC236}">
                <a16:creationId xmlns:a16="http://schemas.microsoft.com/office/drawing/2014/main" id="{6F7AFB01-F516-468D-A718-B8F94AC5D95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9" cstate="print"/>
          <a:srcRect/>
          <a:stretch>
            <a:fillRect/>
          </a:stretch>
        </p:blipFill>
        <p:spPr bwMode="auto">
          <a:xfrm>
            <a:off x="9311751" y="745914"/>
            <a:ext cx="402137" cy="402137"/>
          </a:xfrm>
          <a:prstGeom prst="rect">
            <a:avLst/>
          </a:prstGeom>
          <a:solidFill>
            <a:srgbClr val="008852"/>
          </a:solidFill>
        </p:spPr>
      </p:pic>
      <p:sp>
        <p:nvSpPr>
          <p:cNvPr id="145" name="Title 3">
            <a:extLst>
              <a:ext uri="{FF2B5EF4-FFF2-40B4-BE49-F238E27FC236}">
                <a16:creationId xmlns:a16="http://schemas.microsoft.com/office/drawing/2014/main" id="{24E4F0EA-4EEA-4A62-AED4-3B08E4371E97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 bwMode="black">
          <a:xfrm>
            <a:off x="7005353" y="992021"/>
            <a:ext cx="4296839" cy="526652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lvl1pPr algn="l" defTabSz="4572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 lang="en-GB" sz="2800" b="1" i="0" kern="1200" dirty="0" smtClean="0">
                <a:solidFill>
                  <a:srgbClr val="000000"/>
                </a:solidFill>
                <a:latin typeface="HP Simplified" pitchFamily="34" charset="0"/>
                <a:ea typeface="+mj-ea"/>
                <a:cs typeface="HP Simplified" pitchFamily="34" charset="0"/>
              </a:defRPr>
            </a:lvl1pPr>
          </a:lstStyle>
          <a:p>
            <a:r>
              <a:rPr lang="sk-SK" sz="3200" err="1">
                <a:solidFill>
                  <a:schemeClr val="tx2"/>
                </a:solidFill>
                <a:latin typeface="Ebrima" panose="02000000000000000000" pitchFamily="2" charset="0"/>
                <a:ea typeface="Ebrima" panose="02000000000000000000" pitchFamily="2" charset="0"/>
                <a:cs typeface="Ebrima" panose="02000000000000000000" pitchFamily="2" charset="0"/>
              </a:rPr>
              <a:t>Investigate</a:t>
            </a:r>
            <a:endParaRPr lang="en-US" sz="3200">
              <a:solidFill>
                <a:schemeClr val="tx2"/>
              </a:solidFill>
              <a:latin typeface="Ebrima" panose="02000000000000000000" pitchFamily="2" charset="0"/>
              <a:ea typeface="Ebrima" panose="02000000000000000000" pitchFamily="2" charset="0"/>
              <a:cs typeface="Ebrima" panose="02000000000000000000" pitchFamily="2" charset="0"/>
            </a:endParaRPr>
          </a:p>
        </p:txBody>
      </p:sp>
      <p:sp>
        <p:nvSpPr>
          <p:cNvPr id="146" name="Title 3">
            <a:extLst>
              <a:ext uri="{FF2B5EF4-FFF2-40B4-BE49-F238E27FC236}">
                <a16:creationId xmlns:a16="http://schemas.microsoft.com/office/drawing/2014/main" id="{7FC70D7B-3193-482A-A120-4A1BF632A092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 bwMode="black">
          <a:xfrm>
            <a:off x="10005899" y="2927159"/>
            <a:ext cx="1762997" cy="39763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lvl1pPr algn="l" defTabSz="4572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 lang="en-GB" sz="2800" b="1" i="0" kern="1200" dirty="0" smtClean="0">
                <a:solidFill>
                  <a:srgbClr val="000000"/>
                </a:solidFill>
                <a:latin typeface="HP Simplified" pitchFamily="34" charset="0"/>
                <a:ea typeface="+mj-ea"/>
                <a:cs typeface="HP Simplified" pitchFamily="34" charset="0"/>
              </a:defRPr>
            </a:lvl1pPr>
          </a:lstStyle>
          <a:p>
            <a:r>
              <a:rPr lang="en-US" sz="2400" b="0">
                <a:solidFill>
                  <a:schemeClr val="accent4"/>
                </a:solidFill>
                <a:latin typeface="Ebrima" panose="02000000000000000000" pitchFamily="2" charset="0"/>
                <a:ea typeface="Ebrima" panose="02000000000000000000" pitchFamily="2" charset="0"/>
                <a:cs typeface="Ebrima" panose="02000000000000000000" pitchFamily="2" charset="0"/>
              </a:rPr>
              <a:t>Workbench</a:t>
            </a:r>
          </a:p>
        </p:txBody>
      </p:sp>
    </p:spTree>
    <p:extLst>
      <p:ext uri="{BB962C8B-B14F-4D97-AF65-F5344CB8AC3E}">
        <p14:creationId xmlns:p14="http://schemas.microsoft.com/office/powerpoint/2010/main" val="3529877443"/>
      </p:ext>
    </p:extLst>
  </p:cSld>
  <p:clrMapOvr>
    <a:masterClrMapping/>
  </p:clrMapOvr>
  <p:transition spd="slow">
    <p:push dir="u"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adpis 5">
            <a:extLst>
              <a:ext uri="{FF2B5EF4-FFF2-40B4-BE49-F238E27FC236}">
                <a16:creationId xmlns:a16="http://schemas.microsoft.com/office/drawing/2014/main" id="{AC192611-E85D-E197-5BB0-0EFD796546F0}"/>
              </a:ext>
            </a:extLst>
          </p:cNvPr>
          <p:cNvSpPr txBox="1">
            <a:spLocks/>
          </p:cNvSpPr>
          <p:nvPr/>
        </p:nvSpPr>
        <p:spPr>
          <a:xfrm>
            <a:off x="1644126" y="2596026"/>
            <a:ext cx="10515600" cy="1325563"/>
          </a:xfrm>
          <a:prstGeom prst="rect">
            <a:avLst/>
          </a:prstGeom>
        </p:spPr>
        <p:txBody>
          <a:bodyPr>
            <a:normAutofit lnSpcReduction="10000"/>
          </a:bodyPr>
          <a:lstStyle>
            <a:lvl1pPr algn="l" defTabSz="914318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b="1" i="0" kern="1200" spc="-150" baseline="0">
                <a:solidFill>
                  <a:schemeClr val="tx1"/>
                </a:solidFill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defRPr>
            </a:lvl1pPr>
          </a:lstStyle>
          <a:p>
            <a:r>
              <a:rPr lang="pl-PL" sz="4900" dirty="0" err="1">
                <a:solidFill>
                  <a:schemeClr val="tx2"/>
                </a:solidFill>
              </a:rPr>
              <a:t>Kdo</a:t>
            </a:r>
            <a:r>
              <a:rPr lang="pl-PL" sz="4900" dirty="0">
                <a:solidFill>
                  <a:schemeClr val="tx2"/>
                </a:solidFill>
              </a:rPr>
              <a:t> </a:t>
            </a:r>
            <a:r>
              <a:rPr lang="pl-PL" sz="4900" dirty="0" err="1">
                <a:solidFill>
                  <a:schemeClr val="tx2"/>
                </a:solidFill>
              </a:rPr>
              <a:t>jsme</a:t>
            </a:r>
            <a:r>
              <a:rPr lang="pl-PL" sz="4900" dirty="0">
                <a:solidFill>
                  <a:schemeClr val="tx2"/>
                </a:solidFill>
              </a:rPr>
              <a:t> / </a:t>
            </a:r>
            <a:r>
              <a:rPr lang="pl-PL" sz="4900" dirty="0" err="1">
                <a:solidFill>
                  <a:schemeClr val="tx2"/>
                </a:solidFill>
              </a:rPr>
              <a:t>víme</a:t>
            </a:r>
            <a:r>
              <a:rPr lang="pl-PL" sz="4900" dirty="0">
                <a:solidFill>
                  <a:schemeClr val="tx2"/>
                </a:solidFill>
              </a:rPr>
              <a:t> jak na to</a:t>
            </a:r>
            <a:br>
              <a:rPr lang="pl-PL" sz="4900" dirty="0">
                <a:solidFill>
                  <a:schemeClr val="tx2"/>
                </a:solidFill>
              </a:rPr>
            </a:br>
            <a:r>
              <a:rPr lang="pl-PL" sz="4000" b="0" i="1" dirty="0">
                <a:solidFill>
                  <a:schemeClr val="accent4"/>
                </a:solidFill>
              </a:rPr>
              <a:t>© 2009  [2002]</a:t>
            </a:r>
            <a:endParaRPr lang="sk-SK" i="1" dirty="0">
              <a:solidFill>
                <a:schemeClr val="accent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1929976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>
        <p15:prstTrans prst="pageCurlDouble"/>
      </p:transition>
    </mc:Choice>
    <mc:Fallback xmlns="">
      <p:transition spd="slow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838201" y="889848"/>
            <a:ext cx="5350727" cy="883812"/>
          </a:xfrm>
        </p:spPr>
        <p:txBody>
          <a:bodyPr/>
          <a:lstStyle/>
          <a:p>
            <a:r>
              <a:rPr lang="cs-CZ" dirty="0">
                <a:solidFill>
                  <a:schemeClr val="tx2"/>
                </a:solidFill>
                <a:latin typeface="Tw Cen MT" panose="020B0602020104020603" pitchFamily="34" charset="-18"/>
                <a:ea typeface="Impact" charset="0"/>
                <a:cs typeface="Impact" charset="0"/>
              </a:rPr>
              <a:t>Co</a:t>
            </a:r>
            <a:r>
              <a:rPr lang="cs-CZ" dirty="0">
                <a:latin typeface="Tw Cen MT" panose="020B0602020104020603" pitchFamily="34" charset="-18"/>
                <a:ea typeface="Impact" charset="0"/>
                <a:cs typeface="Impact" charset="0"/>
              </a:rPr>
              <a:t> děláme? </a:t>
            </a:r>
          </a:p>
        </p:txBody>
      </p:sp>
      <p:pic>
        <p:nvPicPr>
          <p:cNvPr id="3080" name="Picture 8" descr="Cyber security, Data protection, information safety. internet technology concept">
            <a:extLst>
              <a:ext uri="{FF2B5EF4-FFF2-40B4-BE49-F238E27FC236}">
                <a16:creationId xmlns:a16="http://schemas.microsoft.com/office/drawing/2014/main" id="{3320CD71-7464-F9AC-CBB4-127562BFF10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23169" y="1992391"/>
            <a:ext cx="3269499" cy="21796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86" name="Picture 14" descr="IOT. Internet of things. Automation and modern technology concept">
            <a:extLst>
              <a:ext uri="{FF2B5EF4-FFF2-40B4-BE49-F238E27FC236}">
                <a16:creationId xmlns:a16="http://schemas.microsoft.com/office/drawing/2014/main" id="{ECBC9766-0D3A-5468-6B82-0E3427FAA71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5851" y="1992391"/>
            <a:ext cx="3269499" cy="21796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ovéPole 4">
            <a:extLst>
              <a:ext uri="{FF2B5EF4-FFF2-40B4-BE49-F238E27FC236}">
                <a16:creationId xmlns:a16="http://schemas.microsoft.com/office/drawing/2014/main" id="{7AC8AAD7-2F2A-D8E7-2ABB-F6340ED6DD97}"/>
              </a:ext>
            </a:extLst>
          </p:cNvPr>
          <p:cNvSpPr txBox="1"/>
          <p:nvPr/>
        </p:nvSpPr>
        <p:spPr>
          <a:xfrm>
            <a:off x="474798" y="4385198"/>
            <a:ext cx="2440348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cs-CZ" sz="2400" b="1" dirty="0">
                <a:solidFill>
                  <a:schemeClr val="tx2"/>
                </a:solidFill>
                <a:latin typeface="Tw Cen MT" panose="020B0602020104020603" pitchFamily="34" charset="-18"/>
              </a:rPr>
              <a:t>Služby a procesy </a:t>
            </a:r>
          </a:p>
          <a:p>
            <a:pPr algn="ctr"/>
            <a:r>
              <a:rPr lang="cs-CZ" sz="2400" b="1" dirty="0">
                <a:solidFill>
                  <a:schemeClr val="tx2"/>
                </a:solidFill>
                <a:latin typeface="Tw Cen MT" panose="020B0602020104020603" pitchFamily="34" charset="-18"/>
              </a:rPr>
              <a:t>v rámci IB a KB</a:t>
            </a:r>
          </a:p>
        </p:txBody>
      </p:sp>
      <p:sp>
        <p:nvSpPr>
          <p:cNvPr id="6" name="TextovéPole 5">
            <a:extLst>
              <a:ext uri="{FF2B5EF4-FFF2-40B4-BE49-F238E27FC236}">
                <a16:creationId xmlns:a16="http://schemas.microsoft.com/office/drawing/2014/main" id="{528E441A-65F7-BF33-3CCE-176AED9DD2DD}"/>
              </a:ext>
            </a:extLst>
          </p:cNvPr>
          <p:cNvSpPr txBox="1"/>
          <p:nvPr/>
        </p:nvSpPr>
        <p:spPr>
          <a:xfrm>
            <a:off x="8661876" y="4275070"/>
            <a:ext cx="3392083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cs-CZ" sz="2400" b="1" dirty="0">
                <a:solidFill>
                  <a:schemeClr val="tx2"/>
                </a:solidFill>
                <a:latin typeface="Tw Cen MT" panose="020B0602020104020603" pitchFamily="34" charset="-18"/>
              </a:rPr>
              <a:t>Technologie pro </a:t>
            </a:r>
            <a:br>
              <a:rPr lang="cs-CZ" sz="2400" b="1" dirty="0">
                <a:solidFill>
                  <a:schemeClr val="tx2"/>
                </a:solidFill>
                <a:latin typeface="Tw Cen MT" panose="020B0602020104020603" pitchFamily="34" charset="-18"/>
              </a:rPr>
            </a:br>
            <a:r>
              <a:rPr lang="cs-CZ" sz="2400" b="1" dirty="0">
                <a:solidFill>
                  <a:schemeClr val="tx2"/>
                </a:solidFill>
                <a:latin typeface="Tw Cen MT" panose="020B0602020104020603" pitchFamily="34" charset="-18"/>
              </a:rPr>
              <a:t>monitoring </a:t>
            </a:r>
          </a:p>
          <a:p>
            <a:pPr algn="ctr"/>
            <a:r>
              <a:rPr lang="cs-CZ" sz="2400" b="1" dirty="0">
                <a:solidFill>
                  <a:schemeClr val="tx2"/>
                </a:solidFill>
                <a:latin typeface="Tw Cen MT" panose="020B0602020104020603" pitchFamily="34" charset="-18"/>
              </a:rPr>
              <a:t>kybernetické bezpečnosti</a:t>
            </a: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451152F9-360E-AE51-3D36-6C13F9B4019A}"/>
              </a:ext>
            </a:extLst>
          </p:cNvPr>
          <p:cNvSpPr txBox="1"/>
          <p:nvPr/>
        </p:nvSpPr>
        <p:spPr>
          <a:xfrm>
            <a:off x="3640398" y="4287010"/>
            <a:ext cx="4803174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cs-CZ" sz="2400" b="1" dirty="0">
                <a:solidFill>
                  <a:schemeClr val="tx2"/>
                </a:solidFill>
                <a:latin typeface="Tw Cen MT" panose="020B0602020104020603" pitchFamily="34" charset="-18"/>
              </a:rPr>
              <a:t>Služby </a:t>
            </a:r>
          </a:p>
          <a:p>
            <a:pPr algn="ctr"/>
            <a:r>
              <a:rPr lang="cs-CZ" sz="2400" b="1" dirty="0">
                <a:solidFill>
                  <a:schemeClr val="tx2"/>
                </a:solidFill>
                <a:latin typeface="Tw Cen MT" panose="020B0602020104020603" pitchFamily="34" charset="-18"/>
              </a:rPr>
              <a:t>bezpečnostního dohledového centra</a:t>
            </a:r>
          </a:p>
          <a:p>
            <a:pPr algn="ctr"/>
            <a:r>
              <a:rPr lang="cs-CZ" sz="2400" b="1" dirty="0">
                <a:solidFill>
                  <a:schemeClr val="tx2"/>
                </a:solidFill>
                <a:latin typeface="Tw Cen MT" panose="020B0602020104020603" pitchFamily="34" charset="-18"/>
              </a:rPr>
              <a:t>(SOC)</a:t>
            </a:r>
          </a:p>
        </p:txBody>
      </p:sp>
      <p:sp>
        <p:nvSpPr>
          <p:cNvPr id="3" name="Freeform 2">
            <a:extLst>
              <a:ext uri="{FF2B5EF4-FFF2-40B4-BE49-F238E27FC236}">
                <a16:creationId xmlns:a16="http://schemas.microsoft.com/office/drawing/2014/main" id="{30076570-5870-5E1D-8394-38D741AF7C00}"/>
              </a:ext>
            </a:extLst>
          </p:cNvPr>
          <p:cNvSpPr/>
          <p:nvPr/>
        </p:nvSpPr>
        <p:spPr>
          <a:xfrm>
            <a:off x="3640398" y="1987656"/>
            <a:ext cx="4893859" cy="2184400"/>
          </a:xfrm>
          <a:custGeom>
            <a:avLst/>
            <a:gdLst/>
            <a:ahLst/>
            <a:cxnLst/>
            <a:rect l="l" t="t" r="r" b="b"/>
            <a:pathLst>
              <a:path w="12248734" h="6585118">
                <a:moveTo>
                  <a:pt x="0" y="0"/>
                </a:moveTo>
                <a:lnTo>
                  <a:pt x="12248734" y="0"/>
                </a:lnTo>
                <a:lnTo>
                  <a:pt x="12248734" y="6585119"/>
                </a:lnTo>
                <a:lnTo>
                  <a:pt x="0" y="6585119"/>
                </a:lnTo>
                <a:lnTo>
                  <a:pt x="0" y="0"/>
                </a:lnTo>
                <a:close/>
              </a:path>
            </a:pathLst>
          </a:custGeom>
          <a:blipFill>
            <a:blip r:embed="rId5"/>
            <a:stretch>
              <a:fillRect t="-12002" b="-12002"/>
            </a:stretch>
          </a:blipFill>
        </p:spPr>
        <p:txBody>
          <a:bodyPr/>
          <a:lstStyle/>
          <a:p>
            <a:endParaRPr lang="sk-SK">
              <a:latin typeface="Tw Cen MT" panose="020B0602020104020603" pitchFamily="34" charset="-18"/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A13FAFE0-15F0-92E8-0F77-7815EF8625C3}"/>
              </a:ext>
            </a:extLst>
          </p:cNvPr>
          <p:cNvSpPr txBox="1"/>
          <p:nvPr/>
        </p:nvSpPr>
        <p:spPr>
          <a:xfrm>
            <a:off x="11811000" y="164250"/>
            <a:ext cx="27672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dirty="0"/>
              <a:t>J</a:t>
            </a:r>
          </a:p>
        </p:txBody>
      </p:sp>
    </p:spTree>
    <p:extLst>
      <p:ext uri="{BB962C8B-B14F-4D97-AF65-F5344CB8AC3E}">
        <p14:creationId xmlns:p14="http://schemas.microsoft.com/office/powerpoint/2010/main" val="2024701915"/>
      </p:ext>
    </p:extLst>
  </p:cSld>
  <p:clrMapOvr>
    <a:masterClrMapping/>
  </p:clrMapOvr>
  <p:transition spd="slow">
    <p:push dir="u"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adpis 2">
            <a:extLst>
              <a:ext uri="{FF2B5EF4-FFF2-40B4-BE49-F238E27FC236}">
                <a16:creationId xmlns:a16="http://schemas.microsoft.com/office/drawing/2014/main" id="{E02C4AA7-654D-4620-9F16-1EAF36A90D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1" y="375444"/>
            <a:ext cx="9434514" cy="883812"/>
          </a:xfrm>
        </p:spPr>
        <p:txBody>
          <a:bodyPr>
            <a:normAutofit/>
          </a:bodyPr>
          <a:lstStyle/>
          <a:p>
            <a:r>
              <a:rPr lang="cs-CZ" dirty="0">
                <a:solidFill>
                  <a:srgbClr val="FF0000"/>
                </a:solidFill>
              </a:rPr>
              <a:t>T</a:t>
            </a:r>
            <a:r>
              <a:rPr lang="cs-CZ" dirty="0">
                <a:solidFill>
                  <a:schemeClr val="tx2"/>
                </a:solidFill>
              </a:rPr>
              <a:t>echnologická </a:t>
            </a:r>
            <a:r>
              <a:rPr lang="cs-CZ" dirty="0">
                <a:solidFill>
                  <a:srgbClr val="FF0000"/>
                </a:solidFill>
              </a:rPr>
              <a:t>S</a:t>
            </a:r>
            <a:r>
              <a:rPr lang="cs-CZ" dirty="0">
                <a:solidFill>
                  <a:schemeClr val="tx2"/>
                </a:solidFill>
              </a:rPr>
              <a:t>polupráce</a:t>
            </a:r>
          </a:p>
        </p:txBody>
      </p:sp>
      <p:sp>
        <p:nvSpPr>
          <p:cNvPr id="2" name="Zástupný symbol pro obsah 1">
            <a:extLst>
              <a:ext uri="{FF2B5EF4-FFF2-40B4-BE49-F238E27FC236}">
                <a16:creationId xmlns:a16="http://schemas.microsoft.com/office/drawing/2014/main" id="{95EA71C7-B8AC-499D-B5DA-C8205CBB61B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2450" y="1490201"/>
            <a:ext cx="11601451" cy="4205504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cs-CZ" b="0" dirty="0">
                <a:solidFill>
                  <a:schemeClr val="bg2">
                    <a:lumMod val="25000"/>
                  </a:schemeClr>
                </a:solidFill>
              </a:rPr>
              <a:t>Sdružení českých a slovenských firem a expertů zabývajících se </a:t>
            </a:r>
            <a:r>
              <a:rPr lang="cs-CZ" b="1" dirty="0" err="1">
                <a:solidFill>
                  <a:schemeClr val="bg2">
                    <a:lumMod val="25000"/>
                  </a:schemeClr>
                </a:solidFill>
              </a:rPr>
              <a:t>kyber</a:t>
            </a:r>
            <a:r>
              <a:rPr lang="cs-CZ" b="1" dirty="0">
                <a:solidFill>
                  <a:schemeClr val="bg2">
                    <a:lumMod val="25000"/>
                  </a:schemeClr>
                </a:solidFill>
              </a:rPr>
              <a:t>. bezpečností</a:t>
            </a:r>
          </a:p>
          <a:p>
            <a:endParaRPr lang="cs-CZ" b="1" dirty="0">
              <a:solidFill>
                <a:schemeClr val="bg2">
                  <a:lumMod val="25000"/>
                </a:schemeClr>
              </a:solidFill>
            </a:endParaRPr>
          </a:p>
          <a:p>
            <a:endParaRPr lang="cs-CZ" b="1" dirty="0">
              <a:solidFill>
                <a:schemeClr val="bg2">
                  <a:lumMod val="25000"/>
                </a:schemeClr>
              </a:solidFill>
            </a:endParaRPr>
          </a:p>
        </p:txBody>
      </p:sp>
      <p:pic>
        <p:nvPicPr>
          <p:cNvPr id="4" name="Obrázek 3">
            <a:extLst>
              <a:ext uri="{FF2B5EF4-FFF2-40B4-BE49-F238E27FC236}">
                <a16:creationId xmlns:a16="http://schemas.microsoft.com/office/drawing/2014/main" id="{030A74D6-55F6-4054-A0F1-24F82D91FF4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2450" y="2805411"/>
            <a:ext cx="2120336" cy="761201"/>
          </a:xfrm>
          <a:prstGeom prst="rect">
            <a:avLst/>
          </a:prstGeom>
        </p:spPr>
      </p:pic>
      <p:pic>
        <p:nvPicPr>
          <p:cNvPr id="5" name="Grafický objekt 4">
            <a:extLst>
              <a:ext uri="{FF2B5EF4-FFF2-40B4-BE49-F238E27FC236}">
                <a16:creationId xmlns:a16="http://schemas.microsoft.com/office/drawing/2014/main" id="{8DC9347C-F6B8-417F-BD3E-575F5619A59A}"/>
              </a:ext>
            </a:extLst>
          </p:cNvPr>
          <p:cNvPicPr>
            <a:picLocks noChangeAspect="1"/>
          </p:cNvPicPr>
          <p:nvPr/>
        </p:nvPicPr>
        <p:blipFill>
          <a:blip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216777" y="2218885"/>
            <a:ext cx="1986577" cy="1986577"/>
          </a:xfrm>
          <a:prstGeom prst="rect">
            <a:avLst/>
          </a:prstGeom>
        </p:spPr>
      </p:pic>
      <p:sp>
        <p:nvSpPr>
          <p:cNvPr id="7" name="Obdélník 6">
            <a:extLst>
              <a:ext uri="{FF2B5EF4-FFF2-40B4-BE49-F238E27FC236}">
                <a16:creationId xmlns:a16="http://schemas.microsoft.com/office/drawing/2014/main" id="{A96ADDD6-7C81-40AA-A6DD-990FF58F03A2}"/>
              </a:ext>
            </a:extLst>
          </p:cNvPr>
          <p:cNvSpPr/>
          <p:nvPr/>
        </p:nvSpPr>
        <p:spPr>
          <a:xfrm>
            <a:off x="8872363" y="3101032"/>
            <a:ext cx="6096000" cy="167840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defTabSz="914372">
              <a:lnSpc>
                <a:spcPct val="90000"/>
              </a:lnSpc>
              <a:spcBef>
                <a:spcPts val="1001"/>
              </a:spcBef>
            </a:pPr>
            <a:endParaRPr lang="cs-CZ" sz="3200" b="1" dirty="0">
              <a:solidFill>
                <a:srgbClr val="EAEFF2">
                  <a:lumMod val="25000"/>
                </a:srgbClr>
              </a:solidFill>
              <a:latin typeface="Tw Cen MT" panose="020B0602020104020603" pitchFamily="34" charset="0"/>
              <a:ea typeface="Ebrima" panose="02000000000000000000" pitchFamily="2" charset="0"/>
              <a:cs typeface="Ebrima" panose="02000000000000000000" pitchFamily="2" charset="0"/>
            </a:endParaRPr>
          </a:p>
          <a:p>
            <a:pPr lvl="0" defTabSz="914372">
              <a:lnSpc>
                <a:spcPct val="90000"/>
              </a:lnSpc>
              <a:spcBef>
                <a:spcPts val="1001"/>
              </a:spcBef>
            </a:pPr>
            <a:r>
              <a:rPr lang="cs-CZ" sz="3200" b="1" dirty="0">
                <a:solidFill>
                  <a:srgbClr val="EAEFF2">
                    <a:lumMod val="25000"/>
                  </a:srgbClr>
                </a:solidFill>
                <a:latin typeface="Tw Cen MT" panose="020B0602020104020603" pitchFamily="34" charset="0"/>
                <a:ea typeface="Ebrima" panose="02000000000000000000" pitchFamily="2" charset="0"/>
                <a:cs typeface="Ebrima" panose="02000000000000000000" pitchFamily="2" charset="0"/>
              </a:rPr>
              <a:t>Založeno </a:t>
            </a:r>
            <a:r>
              <a:rPr lang="cs-CZ" sz="3200" b="1" dirty="0">
                <a:solidFill>
                  <a:srgbClr val="FF0000"/>
                </a:solidFill>
                <a:latin typeface="Tw Cen MT" panose="020B0602020104020603" pitchFamily="34" charset="0"/>
                <a:ea typeface="Ebrima" panose="02000000000000000000" pitchFamily="2" charset="0"/>
                <a:cs typeface="Ebrima" panose="02000000000000000000" pitchFamily="2" charset="0"/>
              </a:rPr>
              <a:t>2018</a:t>
            </a:r>
          </a:p>
          <a:p>
            <a:pPr lvl="0" defTabSz="914372">
              <a:lnSpc>
                <a:spcPct val="90000"/>
              </a:lnSpc>
              <a:spcBef>
                <a:spcPts val="1001"/>
              </a:spcBef>
            </a:pPr>
            <a:r>
              <a:rPr lang="cs-CZ" sz="3200" b="1" dirty="0">
                <a:solidFill>
                  <a:srgbClr val="FF0000"/>
                </a:solidFill>
                <a:latin typeface="Tw Cen MT" panose="020B0602020104020603" pitchFamily="34" charset="0"/>
                <a:ea typeface="Ebrima" panose="02000000000000000000" pitchFamily="2" charset="0"/>
                <a:cs typeface="Ebrima" panose="02000000000000000000" pitchFamily="2" charset="0"/>
              </a:rPr>
              <a:t>15 </a:t>
            </a:r>
            <a:r>
              <a:rPr lang="cs-CZ" sz="3200" b="1" dirty="0">
                <a:solidFill>
                  <a:srgbClr val="3F3F3F"/>
                </a:solidFill>
                <a:latin typeface="Tw Cen MT" panose="020B0602020104020603" pitchFamily="34" charset="0"/>
                <a:ea typeface="Ebrima" panose="02000000000000000000" pitchFamily="2" charset="0"/>
                <a:cs typeface="Ebrima" panose="02000000000000000000" pitchFamily="2" charset="0"/>
              </a:rPr>
              <a:t>členů</a:t>
            </a:r>
          </a:p>
        </p:txBody>
      </p:sp>
      <p:sp>
        <p:nvSpPr>
          <p:cNvPr id="11" name="Obdélník 10">
            <a:extLst>
              <a:ext uri="{FF2B5EF4-FFF2-40B4-BE49-F238E27FC236}">
                <a16:creationId xmlns:a16="http://schemas.microsoft.com/office/drawing/2014/main" id="{3989616E-BC11-41CB-A9DD-4BF492C515DE}"/>
              </a:ext>
            </a:extLst>
          </p:cNvPr>
          <p:cNvSpPr/>
          <p:nvPr/>
        </p:nvSpPr>
        <p:spPr>
          <a:xfrm>
            <a:off x="493458" y="3695203"/>
            <a:ext cx="6096000" cy="1106970"/>
          </a:xfrm>
          <a:prstGeom prst="rect">
            <a:avLst/>
          </a:prstGeom>
        </p:spPr>
        <p:txBody>
          <a:bodyPr>
            <a:spAutoFit/>
          </a:bodyPr>
          <a:lstStyle/>
          <a:p>
            <a:pPr lvl="0" defTabSz="914372">
              <a:lnSpc>
                <a:spcPct val="90000"/>
              </a:lnSpc>
              <a:spcBef>
                <a:spcPts val="1001"/>
              </a:spcBef>
            </a:pPr>
            <a:r>
              <a:rPr lang="cs-CZ" sz="3200" b="1" dirty="0">
                <a:solidFill>
                  <a:srgbClr val="EAEFF2">
                    <a:lumMod val="25000"/>
                  </a:srgbClr>
                </a:solidFill>
                <a:latin typeface="Tw Cen MT" panose="020B0602020104020603" pitchFamily="34" charset="0"/>
                <a:ea typeface="Ebrima" panose="02000000000000000000" pitchFamily="2" charset="0"/>
                <a:cs typeface="Ebrima" panose="02000000000000000000" pitchFamily="2" charset="0"/>
              </a:rPr>
              <a:t>Založeno </a:t>
            </a:r>
            <a:r>
              <a:rPr lang="cs-CZ" sz="3200" b="1" dirty="0">
                <a:solidFill>
                  <a:srgbClr val="FF0000"/>
                </a:solidFill>
                <a:latin typeface="Tw Cen MT" panose="020B0602020104020603" pitchFamily="34" charset="0"/>
                <a:ea typeface="Ebrima" panose="02000000000000000000" pitchFamily="2" charset="0"/>
                <a:cs typeface="Ebrima" panose="02000000000000000000" pitchFamily="2" charset="0"/>
              </a:rPr>
              <a:t>2010</a:t>
            </a:r>
          </a:p>
          <a:p>
            <a:pPr lvl="0" defTabSz="914372">
              <a:lnSpc>
                <a:spcPct val="90000"/>
              </a:lnSpc>
              <a:spcBef>
                <a:spcPts val="1001"/>
              </a:spcBef>
            </a:pPr>
            <a:r>
              <a:rPr lang="cs-CZ" sz="3200" b="1" dirty="0">
                <a:solidFill>
                  <a:srgbClr val="FF0000"/>
                </a:solidFill>
                <a:latin typeface="Tw Cen MT" panose="020B0602020104020603" pitchFamily="34" charset="0"/>
                <a:ea typeface="Ebrima" panose="02000000000000000000" pitchFamily="2" charset="0"/>
                <a:cs typeface="Ebrima" panose="02000000000000000000" pitchFamily="2" charset="0"/>
              </a:rPr>
              <a:t>20 </a:t>
            </a:r>
            <a:r>
              <a:rPr lang="cs-CZ" sz="3200" b="1" dirty="0">
                <a:solidFill>
                  <a:srgbClr val="3F3F3F"/>
                </a:solidFill>
                <a:latin typeface="Tw Cen MT" panose="020B0602020104020603" pitchFamily="34" charset="0"/>
                <a:ea typeface="Ebrima" panose="02000000000000000000" pitchFamily="2" charset="0"/>
                <a:cs typeface="Ebrima" panose="02000000000000000000" pitchFamily="2" charset="0"/>
              </a:rPr>
              <a:t>členů</a:t>
            </a:r>
          </a:p>
        </p:txBody>
      </p:sp>
      <p:pic>
        <p:nvPicPr>
          <p:cNvPr id="9" name="Obrázek 8" descr="Obsah obrázku text&#10;&#10;Popis byl vytvořen automaticky">
            <a:extLst>
              <a:ext uri="{FF2B5EF4-FFF2-40B4-BE49-F238E27FC236}">
                <a16:creationId xmlns:a16="http://schemas.microsoft.com/office/drawing/2014/main" id="{EFF901B0-3BB8-4FD7-9240-90525657A62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98642" y="5001125"/>
            <a:ext cx="1700699" cy="803108"/>
          </a:xfrm>
          <a:prstGeom prst="rect">
            <a:avLst/>
          </a:prstGeom>
        </p:spPr>
      </p:pic>
      <p:pic>
        <p:nvPicPr>
          <p:cNvPr id="6" name="Picture 4" descr="Masarykova univerzita mění logo. Dodá ho Studio Najbrt | Události ...">
            <a:extLst>
              <a:ext uri="{FF2B5EF4-FFF2-40B4-BE49-F238E27FC236}">
                <a16:creationId xmlns:a16="http://schemas.microsoft.com/office/drawing/2014/main" id="{1D10BD51-2887-5A3D-BF37-C66D499D2D8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40588" y="3359660"/>
            <a:ext cx="1986578" cy="9932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Obrázek 13">
            <a:extLst>
              <a:ext uri="{FF2B5EF4-FFF2-40B4-BE49-F238E27FC236}">
                <a16:creationId xmlns:a16="http://schemas.microsoft.com/office/drawing/2014/main" id="{6D9BAE84-9F4F-01C5-25B5-FEE58FEBDF3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058576" y="4969049"/>
            <a:ext cx="1543967" cy="879702"/>
          </a:xfrm>
          <a:prstGeom prst="rect">
            <a:avLst/>
          </a:prstGeom>
        </p:spPr>
      </p:pic>
      <p:pic>
        <p:nvPicPr>
          <p:cNvPr id="13" name="Obrázek 12">
            <a:extLst>
              <a:ext uri="{FF2B5EF4-FFF2-40B4-BE49-F238E27FC236}">
                <a16:creationId xmlns:a16="http://schemas.microsoft.com/office/drawing/2014/main" id="{48545DD3-F918-518F-20BB-A1C230A81920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249601" y="3566273"/>
            <a:ext cx="2476500" cy="467784"/>
          </a:xfrm>
          <a:prstGeom prst="rect">
            <a:avLst/>
          </a:prstGeom>
        </p:spPr>
      </p:pic>
      <p:pic>
        <p:nvPicPr>
          <p:cNvPr id="10" name="Picture 2" descr="Logo NÚKIB">
            <a:extLst>
              <a:ext uri="{FF2B5EF4-FFF2-40B4-BE49-F238E27FC236}">
                <a16:creationId xmlns:a16="http://schemas.microsoft.com/office/drawing/2014/main" id="{09BCA959-669D-4CC7-CC17-9CFFEB108C6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14563" y="4352949"/>
            <a:ext cx="2574218" cy="4058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2" descr="IBM ve 2Q reportovala výsledky nad odhady | Fio banka">
            <a:extLst>
              <a:ext uri="{FF2B5EF4-FFF2-40B4-BE49-F238E27FC236}">
                <a16:creationId xmlns:a16="http://schemas.microsoft.com/office/drawing/2014/main" id="{4354D799-3028-4FDA-66FA-B59F52F70EC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33531" y="4028997"/>
            <a:ext cx="1369455" cy="9693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6" name="Picture 2">
            <a:extLst>
              <a:ext uri="{FF2B5EF4-FFF2-40B4-BE49-F238E27FC236}">
                <a16:creationId xmlns:a16="http://schemas.microsoft.com/office/drawing/2014/main" id="{C026BEDC-2E35-AF67-1C85-37135421363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41458" y="2989570"/>
            <a:ext cx="2476500" cy="295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Obrázek 17">
            <a:extLst>
              <a:ext uri="{FF2B5EF4-FFF2-40B4-BE49-F238E27FC236}">
                <a16:creationId xmlns:a16="http://schemas.microsoft.com/office/drawing/2014/main" id="{D278CFA9-1049-0119-2035-BD2B9B47E70B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6655191" y="2859726"/>
            <a:ext cx="1657581" cy="504895"/>
          </a:xfrm>
          <a:prstGeom prst="rect">
            <a:avLst/>
          </a:prstGeom>
        </p:spPr>
      </p:pic>
      <p:pic>
        <p:nvPicPr>
          <p:cNvPr id="1032" name="Picture 8" descr="GREYCORTEX posiluje svou obchodní pozici ve střední a východní Evropě  partnerstvím s CLICO | GREYCORTEX">
            <a:extLst>
              <a:ext uri="{FF2B5EF4-FFF2-40B4-BE49-F238E27FC236}">
                <a16:creationId xmlns:a16="http://schemas.microsoft.com/office/drawing/2014/main" id="{87252B97-7B7E-15D5-8748-2CAC29268B9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0307" y="5561599"/>
            <a:ext cx="2476500" cy="3054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Obrázek 19">
            <a:extLst>
              <a:ext uri="{FF2B5EF4-FFF2-40B4-BE49-F238E27FC236}">
                <a16:creationId xmlns:a16="http://schemas.microsoft.com/office/drawing/2014/main" id="{210BAD90-43E5-52F1-5BE2-D4D0D2A10843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291997" y="4854502"/>
            <a:ext cx="3273121" cy="502362"/>
          </a:xfrm>
          <a:prstGeom prst="rect">
            <a:avLst/>
          </a:prstGeom>
        </p:spPr>
      </p:pic>
      <p:pic>
        <p:nvPicPr>
          <p:cNvPr id="22" name="Obrázek 21">
            <a:extLst>
              <a:ext uri="{FF2B5EF4-FFF2-40B4-BE49-F238E27FC236}">
                <a16:creationId xmlns:a16="http://schemas.microsoft.com/office/drawing/2014/main" id="{E6A8A7AD-1798-466B-28A1-2597C444ABE2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9117062" y="4854787"/>
            <a:ext cx="1700700" cy="505614"/>
          </a:xfrm>
          <a:prstGeom prst="rect">
            <a:avLst/>
          </a:prstGeom>
        </p:spPr>
      </p:pic>
      <p:sp>
        <p:nvSpPr>
          <p:cNvPr id="12" name="TextovéPole 11">
            <a:extLst>
              <a:ext uri="{FF2B5EF4-FFF2-40B4-BE49-F238E27FC236}">
                <a16:creationId xmlns:a16="http://schemas.microsoft.com/office/drawing/2014/main" id="{FBE38E97-1713-1BDB-0669-035CDE1A1961}"/>
              </a:ext>
            </a:extLst>
          </p:cNvPr>
          <p:cNvSpPr txBox="1"/>
          <p:nvPr/>
        </p:nvSpPr>
        <p:spPr>
          <a:xfrm>
            <a:off x="11811000" y="164250"/>
            <a:ext cx="27672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dirty="0"/>
              <a:t>J</a:t>
            </a:r>
          </a:p>
        </p:txBody>
      </p:sp>
    </p:spTree>
    <p:extLst>
      <p:ext uri="{BB962C8B-B14F-4D97-AF65-F5344CB8AC3E}">
        <p14:creationId xmlns:p14="http://schemas.microsoft.com/office/powerpoint/2010/main" val="1913143392"/>
      </p:ext>
    </p:extLst>
  </p:cSld>
  <p:clrMapOvr>
    <a:masterClrMapping/>
  </p:clrMapOvr>
  <p:transition spd="slow">
    <p:push dir="u"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ovéPole 2">
            <a:extLst>
              <a:ext uri="{FF2B5EF4-FFF2-40B4-BE49-F238E27FC236}">
                <a16:creationId xmlns:a16="http://schemas.microsoft.com/office/drawing/2014/main" id="{8D5E16FD-CE6B-6B9F-87FF-D139B38B9AE1}"/>
              </a:ext>
            </a:extLst>
          </p:cNvPr>
          <p:cNvSpPr txBox="1"/>
          <p:nvPr/>
        </p:nvSpPr>
        <p:spPr>
          <a:xfrm>
            <a:off x="472819" y="1306737"/>
            <a:ext cx="4841607" cy="378565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cs-CZ" sz="4800" b="1" i="0" dirty="0">
                <a:solidFill>
                  <a:schemeClr val="tx2"/>
                </a:solidFill>
                <a:effectLst/>
              </a:rPr>
              <a:t>Lepší</a:t>
            </a:r>
            <a:r>
              <a:rPr lang="cs-CZ" sz="4800" b="1" i="0" dirty="0">
                <a:solidFill>
                  <a:srgbClr val="FF0000"/>
                </a:solidFill>
                <a:effectLst/>
              </a:rPr>
              <a:t> špetka prevence</a:t>
            </a:r>
            <a:r>
              <a:rPr lang="cs-CZ" sz="4800" b="1" i="0" dirty="0">
                <a:effectLst/>
              </a:rPr>
              <a:t> </a:t>
            </a:r>
            <a:r>
              <a:rPr lang="cs-CZ" sz="4800" b="1" i="0" dirty="0">
                <a:solidFill>
                  <a:schemeClr val="tx2"/>
                </a:solidFill>
                <a:effectLst/>
              </a:rPr>
              <a:t>než</a:t>
            </a:r>
            <a:r>
              <a:rPr lang="cs-CZ" sz="4800" b="1" i="0" dirty="0">
                <a:effectLst/>
              </a:rPr>
              <a:t> </a:t>
            </a:r>
            <a:r>
              <a:rPr lang="cs-CZ" sz="4800" b="1" i="0" dirty="0">
                <a:solidFill>
                  <a:srgbClr val="FF0000"/>
                </a:solidFill>
                <a:effectLst/>
              </a:rPr>
              <a:t>pytel</a:t>
            </a:r>
            <a:r>
              <a:rPr lang="cs-CZ" sz="4800" b="1" i="0" dirty="0">
                <a:effectLst/>
              </a:rPr>
              <a:t> </a:t>
            </a:r>
            <a:r>
              <a:rPr lang="cs-CZ" sz="4800" b="1" i="0" dirty="0">
                <a:solidFill>
                  <a:schemeClr val="tx2"/>
                </a:solidFill>
                <a:effectLst/>
              </a:rPr>
              <a:t>nápravných</a:t>
            </a:r>
            <a:r>
              <a:rPr lang="cs-CZ" sz="4800" b="1" i="0" dirty="0">
                <a:effectLst/>
              </a:rPr>
              <a:t> </a:t>
            </a:r>
            <a:r>
              <a:rPr lang="cs-CZ" sz="4800" b="1" i="0" dirty="0">
                <a:solidFill>
                  <a:srgbClr val="FF0000"/>
                </a:solidFill>
                <a:effectLst/>
              </a:rPr>
              <a:t>opatření!</a:t>
            </a:r>
            <a:endParaRPr lang="cs-CZ" sz="4800" b="1" dirty="0">
              <a:solidFill>
                <a:srgbClr val="FF0000"/>
              </a:solidFill>
            </a:endParaRPr>
          </a:p>
        </p:txBody>
      </p:sp>
      <p:pic>
        <p:nvPicPr>
          <p:cNvPr id="4" name="Picture 2" descr="Těžko na cvičišti, lehko na bojišti.... | ARMYWEB.cz">
            <a:extLst>
              <a:ext uri="{FF2B5EF4-FFF2-40B4-BE49-F238E27FC236}">
                <a16:creationId xmlns:a16="http://schemas.microsoft.com/office/drawing/2014/main" id="{81A823F9-C205-6D52-1BB2-3604ADD53A4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81423" y="1217566"/>
            <a:ext cx="6096000" cy="408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ovéPole 4">
            <a:extLst>
              <a:ext uri="{FF2B5EF4-FFF2-40B4-BE49-F238E27FC236}">
                <a16:creationId xmlns:a16="http://schemas.microsoft.com/office/drawing/2014/main" id="{1450F488-0A95-836C-038D-914A56FBC544}"/>
              </a:ext>
            </a:extLst>
          </p:cNvPr>
          <p:cNvSpPr txBox="1"/>
          <p:nvPr/>
        </p:nvSpPr>
        <p:spPr>
          <a:xfrm>
            <a:off x="11303009" y="5482378"/>
            <a:ext cx="1611071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800" dirty="0">
                <a:solidFill>
                  <a:schemeClr val="tx2"/>
                </a:solidFill>
              </a:rPr>
              <a:t>Zdroj: army.cz</a:t>
            </a:r>
          </a:p>
        </p:txBody>
      </p:sp>
    </p:spTree>
    <p:extLst>
      <p:ext uri="{BB962C8B-B14F-4D97-AF65-F5344CB8AC3E}">
        <p14:creationId xmlns:p14="http://schemas.microsoft.com/office/powerpoint/2010/main" val="1238930237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>
        <p15:prstTrans prst="pageCurlDouble"/>
      </p:transition>
    </mc:Choice>
    <mc:Fallback xmlns="">
      <p:transition spd="slow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adpis 2">
            <a:extLst>
              <a:ext uri="{FF2B5EF4-FFF2-40B4-BE49-F238E27FC236}">
                <a16:creationId xmlns:a16="http://schemas.microsoft.com/office/drawing/2014/main" id="{5F9415B0-D8CE-CFE2-DF81-A8F320260CC0}"/>
              </a:ext>
            </a:extLst>
          </p:cNvPr>
          <p:cNvSpPr txBox="1">
            <a:spLocks/>
          </p:cNvSpPr>
          <p:nvPr/>
        </p:nvSpPr>
        <p:spPr>
          <a:xfrm>
            <a:off x="2190041" y="1676983"/>
            <a:ext cx="7256463" cy="883812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318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b="1" i="0" kern="1200" spc="-150" baseline="0">
                <a:solidFill>
                  <a:schemeClr val="tx1"/>
                </a:solidFill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defRPr>
            </a:lvl1pPr>
          </a:lstStyle>
          <a:p>
            <a:pPr algn="ctr"/>
            <a:r>
              <a:rPr lang="cs-CZ" sz="6000" dirty="0">
                <a:solidFill>
                  <a:srgbClr val="FF0000"/>
                </a:solidFill>
                <a:latin typeface="+mn-lt"/>
              </a:rPr>
              <a:t> Proč</a:t>
            </a:r>
            <a:r>
              <a:rPr lang="cs-CZ" sz="6000" dirty="0">
                <a:solidFill>
                  <a:schemeClr val="tx2"/>
                </a:solidFill>
                <a:latin typeface="+mn-lt"/>
              </a:rPr>
              <a:t> ze zabývat kybernetickou </a:t>
            </a:r>
            <a:r>
              <a:rPr lang="cs-CZ" sz="6000" dirty="0">
                <a:solidFill>
                  <a:srgbClr val="FF0000"/>
                </a:solidFill>
                <a:latin typeface="+mn-lt"/>
              </a:rPr>
              <a:t>bezpečností</a:t>
            </a:r>
            <a:r>
              <a:rPr lang="cs-CZ" sz="6000" dirty="0">
                <a:solidFill>
                  <a:schemeClr val="tx2"/>
                </a:solidFill>
                <a:latin typeface="+mn-lt"/>
              </a:rPr>
              <a:t>?</a:t>
            </a:r>
            <a:r>
              <a:rPr lang="cs-CZ" sz="6000" dirty="0">
                <a:solidFill>
                  <a:srgbClr val="FF0000"/>
                </a:solidFill>
                <a:latin typeface="+mn-lt"/>
              </a:rPr>
              <a:t> </a:t>
            </a:r>
            <a:endParaRPr lang="cs-CZ" sz="60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649960369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>
        <p15:prstTrans prst="pageCurlDouble"/>
      </p:transition>
    </mc:Choice>
    <mc:Fallback xmlns="">
      <p:transition spd="slow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Obrázek 3">
            <a:extLst>
              <a:ext uri="{FF2B5EF4-FFF2-40B4-BE49-F238E27FC236}">
                <a16:creationId xmlns:a16="http://schemas.microsoft.com/office/drawing/2014/main" id="{7F58CFC2-4FE4-FF2D-E3B7-010B67E9E03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06286" y="741112"/>
            <a:ext cx="9041534" cy="47317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004036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ovéPole 3">
            <a:extLst>
              <a:ext uri="{FF2B5EF4-FFF2-40B4-BE49-F238E27FC236}">
                <a16:creationId xmlns:a16="http://schemas.microsoft.com/office/drawing/2014/main" id="{184FA667-BC59-AB61-4D49-AB465629677A}"/>
              </a:ext>
            </a:extLst>
          </p:cNvPr>
          <p:cNvSpPr txBox="1"/>
          <p:nvPr/>
        </p:nvSpPr>
        <p:spPr>
          <a:xfrm>
            <a:off x="472819" y="333701"/>
            <a:ext cx="10253093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cs-CZ" sz="4800" b="1" i="0" dirty="0">
                <a:solidFill>
                  <a:srgbClr val="FF0000"/>
                </a:solidFill>
                <a:effectLst/>
              </a:rPr>
              <a:t>Není</a:t>
            </a:r>
            <a:r>
              <a:rPr lang="cs-CZ" sz="4800" b="1" i="0" dirty="0">
                <a:solidFill>
                  <a:schemeClr val="tx2"/>
                </a:solidFill>
                <a:effectLst/>
              </a:rPr>
              <a:t> otázkou </a:t>
            </a:r>
            <a:r>
              <a:rPr lang="cs-CZ" sz="4800" b="1" i="0" dirty="0">
                <a:solidFill>
                  <a:srgbClr val="FF0000"/>
                </a:solidFill>
                <a:effectLst/>
              </a:rPr>
              <a:t>jestli</a:t>
            </a:r>
            <a:r>
              <a:rPr lang="cs-CZ" sz="4800" b="1" i="0" dirty="0">
                <a:solidFill>
                  <a:schemeClr val="tx2"/>
                </a:solidFill>
                <a:effectLst/>
              </a:rPr>
              <a:t>, ale </a:t>
            </a:r>
            <a:r>
              <a:rPr lang="cs-CZ" sz="4800" b="1" i="0" dirty="0">
                <a:solidFill>
                  <a:srgbClr val="FF0000"/>
                </a:solidFill>
                <a:effectLst/>
              </a:rPr>
              <a:t>kdy</a:t>
            </a:r>
            <a:r>
              <a:rPr lang="cs-CZ" sz="4800" b="1" i="0" dirty="0">
                <a:solidFill>
                  <a:schemeClr val="tx2"/>
                </a:solidFill>
                <a:effectLst/>
              </a:rPr>
              <a:t>.</a:t>
            </a:r>
            <a:endParaRPr lang="cs-CZ" sz="4800" b="1" dirty="0">
              <a:solidFill>
                <a:srgbClr val="FF0000"/>
              </a:solidFill>
            </a:endParaRPr>
          </a:p>
        </p:txBody>
      </p:sp>
      <p:pic>
        <p:nvPicPr>
          <p:cNvPr id="2051" name="Picture 3">
            <a:extLst>
              <a:ext uri="{FF2B5EF4-FFF2-40B4-BE49-F238E27FC236}">
                <a16:creationId xmlns:a16="http://schemas.microsoft.com/office/drawing/2014/main" id="{04A5C7E2-12B1-99DB-333E-7734BA1FEE6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1509" y="1336673"/>
            <a:ext cx="3474530" cy="45567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ovéPole 4">
            <a:extLst>
              <a:ext uri="{FF2B5EF4-FFF2-40B4-BE49-F238E27FC236}">
                <a16:creationId xmlns:a16="http://schemas.microsoft.com/office/drawing/2014/main" id="{0D8EF00D-1A73-6E63-5361-C41F67119968}"/>
              </a:ext>
            </a:extLst>
          </p:cNvPr>
          <p:cNvSpPr txBox="1"/>
          <p:nvPr/>
        </p:nvSpPr>
        <p:spPr>
          <a:xfrm>
            <a:off x="4264729" y="4207642"/>
            <a:ext cx="7851071" cy="11387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2000" b="1" dirty="0">
                <a:solidFill>
                  <a:schemeClr val="tx2"/>
                </a:solidFill>
                <a:latin typeface="Tw Cen MT" panose="020B0602020104020603" pitchFamily="34" charset="-18"/>
              </a:rPr>
              <a:t>Útok na dodavatelský řetězec: Díky napadenému SW vyřadil útočník 500 prodejen švédského COOP:</a:t>
            </a:r>
          </a:p>
          <a:p>
            <a:endParaRPr lang="cs-CZ" dirty="0">
              <a:latin typeface="Tw Cen MT" panose="020B0602020104020603" pitchFamily="34" charset="-18"/>
            </a:endParaRPr>
          </a:p>
          <a:p>
            <a:r>
              <a:rPr lang="cs-CZ" sz="1000" dirty="0">
                <a:latin typeface="Tw Cen MT" panose="020B0602020104020603" pitchFamily="34" charset="-18"/>
              </a:rPr>
              <a:t>https://www.idnes.cz/zpravy/zahranicni/hacker-kyberneticky-utok-usa.A210705_071034_zahranicni_knn?utm_source=chatgpt.com</a:t>
            </a:r>
          </a:p>
        </p:txBody>
      </p:sp>
      <p:pic>
        <p:nvPicPr>
          <p:cNvPr id="7" name="Obrázek 6">
            <a:extLst>
              <a:ext uri="{FF2B5EF4-FFF2-40B4-BE49-F238E27FC236}">
                <a16:creationId xmlns:a16="http://schemas.microsoft.com/office/drawing/2014/main" id="{50745F10-0C28-95E3-83E7-C0E79CDF022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70832" y="1552623"/>
            <a:ext cx="7132320" cy="267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435881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Nadpis 5">
            <a:extLst>
              <a:ext uri="{FF2B5EF4-FFF2-40B4-BE49-F238E27FC236}">
                <a16:creationId xmlns:a16="http://schemas.microsoft.com/office/drawing/2014/main" id="{AC48742B-6783-4600-9D60-65E4B1083F01}"/>
              </a:ext>
            </a:extLst>
          </p:cNvPr>
          <p:cNvSpPr txBox="1">
            <a:spLocks/>
          </p:cNvSpPr>
          <p:nvPr/>
        </p:nvSpPr>
        <p:spPr>
          <a:xfrm>
            <a:off x="707141" y="267965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77500" lnSpcReduction="20000"/>
          </a:bodyPr>
          <a:lstStyle>
            <a:lvl1pPr algn="l" defTabSz="91437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kern="1200">
                <a:solidFill>
                  <a:schemeClr val="tx1"/>
                </a:solidFill>
                <a:latin typeface="Tw Cen MT" panose="020B0602020104020603" pitchFamily="34" charset="0"/>
                <a:ea typeface="Ebrima" panose="02000000000000000000" pitchFamily="2" charset="0"/>
                <a:cs typeface="Ebrima" panose="02000000000000000000" pitchFamily="2" charset="0"/>
              </a:defRPr>
            </a:lvl1pPr>
          </a:lstStyle>
          <a:p>
            <a:r>
              <a:rPr lang="cs-CZ" sz="4900" dirty="0">
                <a:solidFill>
                  <a:schemeClr val="tx2"/>
                </a:solidFill>
                <a:latin typeface="+mn-lt"/>
              </a:rPr>
              <a:t>Jak se </a:t>
            </a:r>
            <a:r>
              <a:rPr lang="cs-CZ" sz="4900" dirty="0">
                <a:solidFill>
                  <a:srgbClr val="FF0000"/>
                </a:solidFill>
                <a:latin typeface="+mn-lt"/>
              </a:rPr>
              <a:t>připravit</a:t>
            </a:r>
            <a:r>
              <a:rPr lang="cs-CZ" sz="4900" dirty="0">
                <a:solidFill>
                  <a:schemeClr val="tx2"/>
                </a:solidFill>
                <a:latin typeface="+mn-lt"/>
              </a:rPr>
              <a:t> v organizaci na nové výzvy jako je např. </a:t>
            </a:r>
            <a:r>
              <a:rPr lang="cs-CZ" sz="4900" dirty="0" err="1">
                <a:solidFill>
                  <a:schemeClr val="tx2"/>
                </a:solidFill>
                <a:latin typeface="+mn-lt"/>
              </a:rPr>
              <a:t>ZoKB</a:t>
            </a:r>
            <a:r>
              <a:rPr lang="cs-CZ" sz="4900" dirty="0">
                <a:solidFill>
                  <a:schemeClr val="tx2"/>
                </a:solidFill>
                <a:latin typeface="+mn-lt"/>
              </a:rPr>
              <a:t> ?</a:t>
            </a:r>
            <a:br>
              <a:rPr lang="pl-PL" sz="4900" dirty="0">
                <a:solidFill>
                  <a:schemeClr val="tx2"/>
                </a:solidFill>
              </a:rPr>
            </a:br>
            <a:endParaRPr lang="sk-SK" i="1" dirty="0">
              <a:solidFill>
                <a:schemeClr val="accent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19502922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>
        <p15:prstTrans prst="pageCurlDouble"/>
      </p:transition>
    </mc:Choice>
    <mc:Fallback xmlns="">
      <p:transition spd="slow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haSEl5Hh0WmEbI136ucz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vBsWQJy1kKmnKilzfOqe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CDGafxVZk6VEuYGrvtmP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CLzocFuoEmZ5FMg.RODM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VlBzBQOjkO17h_xycoCv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7QwJN4b6U6BT26FE4YLg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fcM6c8NnEWzE9.9aTIH9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YYHU68L90uIUHjI2vQ6c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lQsicXlFU6RlcXhSSzYv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KcOpVowrkWAhgNAxa_1r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H2XFsQ6OUemTNrfI9mXW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haSEl5Hh0WmEbI136ucz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TF.xT6NZUiTMiRRFfyjT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4OpgFGYk28vVzSV_9V8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BDa.IjEeEyw.dGem6Bju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33vcVCFsUqYz.5cg9Chv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haSEl5Hh0WmEbI136ucz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WUWRwFqyk.JV2WNDpUQc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GEnYCVecEWCtlsJEYKH5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ivjIEM.8Eymlp1byKzgN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0f5Kgrhjk.0U1mCwCZph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Ih02wTUW5o2LU0BteQ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haSEl5Hh0WmEbI136ucz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KNBHfpMRkqQldgp5Udam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7aG6Whd3U6xKwEx0exQ3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Ih02wTUW5o2LU0BteQ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BDa.IjEeEyw.dGem6Bju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BDa.IjEeEyw.dGem6Bju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0f5Kgrhjk.0U1mCwCZph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haSEl5Hh0WmEbI136ucz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dZ.mgbmFUSKCZPkv89BH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Vt5GCD9j0yw0XrWoP9D2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WkypUiUeka6r2luKQLVs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AomHHh7kaVjAtWF7vWa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iRwIBbhmE2Eq0ycEUEzeg"/>
</p:tagLst>
</file>

<file path=ppt/theme/theme1.xml><?xml version="1.0" encoding="utf-8"?>
<a:theme xmlns:a="http://schemas.openxmlformats.org/drawingml/2006/main" name="Axenta">
  <a:themeElements>
    <a:clrScheme name="Axenta">
      <a:dk1>
        <a:srgbClr val="FF3333"/>
      </a:dk1>
      <a:lt1>
        <a:srgbClr val="FF3333"/>
      </a:lt1>
      <a:dk2>
        <a:srgbClr val="3F3F3F"/>
      </a:dk2>
      <a:lt2>
        <a:srgbClr val="EAEFF2"/>
      </a:lt2>
      <a:accent1>
        <a:srgbClr val="EAEFF2"/>
      </a:accent1>
      <a:accent2>
        <a:srgbClr val="FFC000"/>
      </a:accent2>
      <a:accent3>
        <a:srgbClr val="FF0000"/>
      </a:accent3>
      <a:accent4>
        <a:srgbClr val="BF9000"/>
      </a:accent4>
      <a:accent5>
        <a:srgbClr val="72AEBC"/>
      </a:accent5>
      <a:accent6>
        <a:srgbClr val="2E75B5"/>
      </a:accent6>
      <a:hlink>
        <a:srgbClr val="BF9000"/>
      </a:hlink>
      <a:folHlink>
        <a:srgbClr val="538135"/>
      </a:folHlink>
    </a:clrScheme>
    <a:fontScheme name="AXenta Myriad Pro">
      <a:majorFont>
        <a:latin typeface="Myriad Pro"/>
        <a:ea typeface=""/>
        <a:cs typeface=""/>
      </a:majorFont>
      <a:minorFont>
        <a:latin typeface="Myriad Pr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Axenta" id="{C5B9275C-03DB-4A8B-9B9E-A7A3803B00E1}" vid="{267DC53B-771D-4A37-97A7-A71B65584BC0}"/>
    </a:ext>
  </a:extLst>
</a:theme>
</file>

<file path=ppt/theme/theme2.xml><?xml version="1.0" encoding="utf-8"?>
<a:theme xmlns:a="http://schemas.openxmlformats.org/drawingml/2006/main" name="6_Axenta-ppt">
  <a:themeElements>
    <a:clrScheme name="Axenta">
      <a:dk1>
        <a:srgbClr val="FF3333"/>
      </a:dk1>
      <a:lt1>
        <a:srgbClr val="FF3333"/>
      </a:lt1>
      <a:dk2>
        <a:srgbClr val="3F3F3F"/>
      </a:dk2>
      <a:lt2>
        <a:srgbClr val="EAEFF2"/>
      </a:lt2>
      <a:accent1>
        <a:srgbClr val="EAEFF2"/>
      </a:accent1>
      <a:accent2>
        <a:srgbClr val="FFC000"/>
      </a:accent2>
      <a:accent3>
        <a:srgbClr val="FF0000"/>
      </a:accent3>
      <a:accent4>
        <a:srgbClr val="BF9000"/>
      </a:accent4>
      <a:accent5>
        <a:srgbClr val="72AEBC"/>
      </a:accent5>
      <a:accent6>
        <a:srgbClr val="2E75B5"/>
      </a:accent6>
      <a:hlink>
        <a:srgbClr val="BF9000"/>
      </a:hlink>
      <a:folHlink>
        <a:srgbClr val="538135"/>
      </a:folHlink>
    </a:clrScheme>
    <a:fontScheme name="AXenta Myriad Pro">
      <a:majorFont>
        <a:latin typeface="Myriad Pro"/>
        <a:ea typeface=""/>
        <a:cs typeface=""/>
      </a:majorFont>
      <a:minorFont>
        <a:latin typeface="Myriad Pr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Axenta-ppt" id="{9420694E-5B67-4C26-80D9-8D9F4D3D1A9B}" vid="{B4DE739B-F592-4808-800A-220FDE53A82F}"/>
    </a:ext>
  </a:extLst>
</a:theme>
</file>

<file path=ppt/theme/theme3.xml><?xml version="1.0" encoding="utf-8"?>
<a:theme xmlns:a="http://schemas.openxmlformats.org/drawingml/2006/main" name="4_Axenta-ppt">
  <a:themeElements>
    <a:clrScheme name="Axenta">
      <a:dk1>
        <a:srgbClr val="FF0000"/>
      </a:dk1>
      <a:lt1>
        <a:srgbClr val="FF0000"/>
      </a:lt1>
      <a:dk2>
        <a:srgbClr val="3F3F3F"/>
      </a:dk2>
      <a:lt2>
        <a:srgbClr val="EAEFF2"/>
      </a:lt2>
      <a:accent1>
        <a:srgbClr val="EAEFF2"/>
      </a:accent1>
      <a:accent2>
        <a:srgbClr val="FFC000"/>
      </a:accent2>
      <a:accent3>
        <a:srgbClr val="FF0000"/>
      </a:accent3>
      <a:accent4>
        <a:srgbClr val="BF9000"/>
      </a:accent4>
      <a:accent5>
        <a:srgbClr val="72AEBC"/>
      </a:accent5>
      <a:accent6>
        <a:srgbClr val="2E75B5"/>
      </a:accent6>
      <a:hlink>
        <a:srgbClr val="BF9000"/>
      </a:hlink>
      <a:folHlink>
        <a:srgbClr val="538135"/>
      </a:folHlink>
    </a:clrScheme>
    <a:fontScheme name="AXenta Myriad Pro">
      <a:majorFont>
        <a:latin typeface="Myriad Pro"/>
        <a:ea typeface=""/>
        <a:cs typeface=""/>
      </a:majorFont>
      <a:minorFont>
        <a:latin typeface="Myriad Pr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Axenta-ppt" id="{9420694E-5B67-4C26-80D9-8D9F4D3D1A9B}" vid="{B4DE739B-F592-4808-800A-220FDE53A82F}"/>
    </a:ext>
  </a:extLst>
</a:theme>
</file>

<file path=ppt/theme/theme4.xml><?xml version="1.0" encoding="utf-8"?>
<a:theme xmlns:a="http://schemas.openxmlformats.org/drawingml/2006/main" name="5_Axenta-ppt">
  <a:themeElements>
    <a:clrScheme name="Axenta">
      <a:dk1>
        <a:srgbClr val="FF3333"/>
      </a:dk1>
      <a:lt1>
        <a:srgbClr val="FF3333"/>
      </a:lt1>
      <a:dk2>
        <a:srgbClr val="3F3F3F"/>
      </a:dk2>
      <a:lt2>
        <a:srgbClr val="EAEFF2"/>
      </a:lt2>
      <a:accent1>
        <a:srgbClr val="EAEFF2"/>
      </a:accent1>
      <a:accent2>
        <a:srgbClr val="FFC000"/>
      </a:accent2>
      <a:accent3>
        <a:srgbClr val="FF0000"/>
      </a:accent3>
      <a:accent4>
        <a:srgbClr val="BF9000"/>
      </a:accent4>
      <a:accent5>
        <a:srgbClr val="72AEBC"/>
      </a:accent5>
      <a:accent6>
        <a:srgbClr val="2E75B5"/>
      </a:accent6>
      <a:hlink>
        <a:srgbClr val="BF9000"/>
      </a:hlink>
      <a:folHlink>
        <a:srgbClr val="538135"/>
      </a:folHlink>
    </a:clrScheme>
    <a:fontScheme name="AXenta Myriad Pro">
      <a:majorFont>
        <a:latin typeface="Myriad Pro"/>
        <a:ea typeface=""/>
        <a:cs typeface=""/>
      </a:majorFont>
      <a:minorFont>
        <a:latin typeface="Myriad Pr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Axenta-ppt" id="{9420694E-5B67-4C26-80D9-8D9F4D3D1A9B}" vid="{B4DE739B-F592-4808-800A-220FDE53A82F}"/>
    </a:ext>
  </a:extLst>
</a:theme>
</file>

<file path=ppt/theme/theme5.xml><?xml version="1.0" encoding="utf-8"?>
<a:theme xmlns:a="http://schemas.openxmlformats.org/drawingml/2006/main" name="1_Axenta-ppt">
  <a:themeElements>
    <a:clrScheme name="Axenta">
      <a:dk1>
        <a:srgbClr val="FF3333"/>
      </a:dk1>
      <a:lt1>
        <a:srgbClr val="FF3333"/>
      </a:lt1>
      <a:dk2>
        <a:srgbClr val="3F3F3F"/>
      </a:dk2>
      <a:lt2>
        <a:srgbClr val="EAEFF2"/>
      </a:lt2>
      <a:accent1>
        <a:srgbClr val="EAEFF2"/>
      </a:accent1>
      <a:accent2>
        <a:srgbClr val="FFC000"/>
      </a:accent2>
      <a:accent3>
        <a:srgbClr val="FF3333"/>
      </a:accent3>
      <a:accent4>
        <a:srgbClr val="CC9966"/>
      </a:accent4>
      <a:accent5>
        <a:srgbClr val="72AEBC"/>
      </a:accent5>
      <a:accent6>
        <a:srgbClr val="2E75B5"/>
      </a:accent6>
      <a:hlink>
        <a:srgbClr val="BF9000"/>
      </a:hlink>
      <a:folHlink>
        <a:srgbClr val="538135"/>
      </a:folHlink>
    </a:clrScheme>
    <a:fontScheme name="AXenta Myriad Pro">
      <a:majorFont>
        <a:latin typeface="Myriad Pro"/>
        <a:ea typeface=""/>
        <a:cs typeface=""/>
      </a:majorFont>
      <a:minorFont>
        <a:latin typeface="Myriad Pr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Axenta-ppt" id="{9420694E-5B67-4C26-80D9-8D9F4D3D1A9B}" vid="{B4DE739B-F592-4808-800A-220FDE53A82F}"/>
    </a:ext>
  </a:extLst>
</a:theme>
</file>

<file path=ppt/theme/theme6.xml><?xml version="1.0" encoding="utf-8"?>
<a:theme xmlns:a="http://schemas.openxmlformats.org/drawingml/2006/main" name="2_Axenta-ppt">
  <a:themeElements>
    <a:clrScheme name="Axenta">
      <a:dk1>
        <a:srgbClr val="FF3333"/>
      </a:dk1>
      <a:lt1>
        <a:srgbClr val="FF3333"/>
      </a:lt1>
      <a:dk2>
        <a:srgbClr val="3F3F3F"/>
      </a:dk2>
      <a:lt2>
        <a:srgbClr val="EAEFF2"/>
      </a:lt2>
      <a:accent1>
        <a:srgbClr val="EAEFF2"/>
      </a:accent1>
      <a:accent2>
        <a:srgbClr val="FFC000"/>
      </a:accent2>
      <a:accent3>
        <a:srgbClr val="FF0000"/>
      </a:accent3>
      <a:accent4>
        <a:srgbClr val="BF9000"/>
      </a:accent4>
      <a:accent5>
        <a:srgbClr val="72AEBC"/>
      </a:accent5>
      <a:accent6>
        <a:srgbClr val="2E75B5"/>
      </a:accent6>
      <a:hlink>
        <a:srgbClr val="BF9000"/>
      </a:hlink>
      <a:folHlink>
        <a:srgbClr val="538135"/>
      </a:folHlink>
    </a:clrScheme>
    <a:fontScheme name="AXenta Myriad Pro">
      <a:majorFont>
        <a:latin typeface="Myriad Pro"/>
        <a:ea typeface=""/>
        <a:cs typeface=""/>
      </a:majorFont>
      <a:minorFont>
        <a:latin typeface="Myriad Pr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Axenta-ppt" id="{9420694E-5B67-4C26-80D9-8D9F4D3D1A9B}" vid="{B4DE739B-F592-4808-800A-220FDE53A82F}"/>
    </a:ext>
  </a:extLst>
</a:theme>
</file>

<file path=ppt/theme/theme7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1683fc70-0135-4481-bab3-bc11a77025f8">
      <Terms xmlns="http://schemas.microsoft.com/office/infopath/2007/PartnerControls"/>
    </lcf76f155ced4ddcb4097134ff3c332f>
    <TaxCatchAll xmlns="93f06d8a-897a-4209-93a2-c0a8eb83f6e4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FF469AC57398847BCC0594C359D6610" ma:contentTypeVersion="16" ma:contentTypeDescription="Create a new document." ma:contentTypeScope="" ma:versionID="8bacae7242027d9eb808493d88733553">
  <xsd:schema xmlns:xsd="http://www.w3.org/2001/XMLSchema" xmlns:xs="http://www.w3.org/2001/XMLSchema" xmlns:p="http://schemas.microsoft.com/office/2006/metadata/properties" xmlns:ns2="1683fc70-0135-4481-bab3-bc11a77025f8" xmlns:ns3="93f06d8a-897a-4209-93a2-c0a8eb83f6e4" targetNamespace="http://schemas.microsoft.com/office/2006/metadata/properties" ma:root="true" ma:fieldsID="5f11376c3f6633f3415597c288b74164" ns2:_="" ns3:_="">
    <xsd:import namespace="1683fc70-0135-4481-bab3-bc11a77025f8"/>
    <xsd:import namespace="93f06d8a-897a-4209-93a2-c0a8eb83f6e4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Locatio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SearchProperties" minOccurs="0"/>
                <xsd:element ref="ns2:MediaServiceObjectDetectorVersions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683fc70-0135-4481-bab3-bc11a77025f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MediaServiceAutoTags" ma:internalName="MediaServiceAutoTags" ma:readOnly="true">
      <xsd:simpleType>
        <xsd:restriction base="dms:Text"/>
      </xsd:simpleType>
    </xsd:element>
    <xsd:element name="MediaServiceLocation" ma:index="12" nillable="true" ma:displayName="MediaServiceLocation" ma:internalName="MediaServiceLocation" ma:readOnly="true">
      <xsd:simpleType>
        <xsd:restriction base="dms:Text"/>
      </xsd:simpleType>
    </xsd:element>
    <xsd:element name="MediaServiceOCR" ma:index="13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6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18" nillable="true" ma:taxonomy="true" ma:internalName="lcf76f155ced4ddcb4097134ff3c332f" ma:taxonomyFieldName="MediaServiceImageTags" ma:displayName="Image Tags" ma:readOnly="false" ma:fieldId="{5cf76f15-5ced-4ddc-b409-7134ff3c332f}" ma:taxonomyMulti="true" ma:sspId="2667263d-4065-4020-8d18-5db6c3e82336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SearchProperties" ma:index="2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2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3f06d8a-897a-4209-93a2-c0a8eb83f6e4" elementFormDefault="qualified">
    <xsd:import namespace="http://schemas.microsoft.com/office/2006/documentManagement/types"/>
    <xsd:import namespace="http://schemas.microsoft.com/office/infopath/2007/PartnerControls"/>
    <xsd:element name="TaxCatchAll" ma:index="19" nillable="true" ma:displayName="Taxonomy Catch All Column" ma:hidden="true" ma:list="{0acb9259-e31d-404b-8f3c-913d863c6c52}" ma:internalName="TaxCatchAll" ma:showField="CatchAllData" ma:web="93f06d8a-897a-4209-93a2-c0a8eb83f6e4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2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37391F46-3605-4373-8917-80137AB973BB}">
  <ds:schemaRefs>
    <ds:schemaRef ds:uri="http://schemas.microsoft.com/office/2006/metadata/properties"/>
    <ds:schemaRef ds:uri="http://schemas.microsoft.com/office/infopath/2007/PartnerControls"/>
    <ds:schemaRef ds:uri="1683fc70-0135-4481-bab3-bc11a77025f8"/>
    <ds:schemaRef ds:uri="93f06d8a-897a-4209-93a2-c0a8eb83f6e4"/>
  </ds:schemaRefs>
</ds:datastoreItem>
</file>

<file path=customXml/itemProps2.xml><?xml version="1.0" encoding="utf-8"?>
<ds:datastoreItem xmlns:ds="http://schemas.openxmlformats.org/officeDocument/2006/customXml" ds:itemID="{972047CC-FB18-43EF-BD4F-1FC9E5C2DA1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1683fc70-0135-4481-bab3-bc11a77025f8"/>
    <ds:schemaRef ds:uri="93f06d8a-897a-4209-93a2-c0a8eb83f6e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A68AB0E5-4B62-4E9F-A439-5C94A17BDE36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Axenta</Template>
  <TotalTime>24</TotalTime>
  <Words>497</Words>
  <Application>Microsoft Office PowerPoint</Application>
  <PresentationFormat>Širokoúhlá obrazovka</PresentationFormat>
  <Paragraphs>102</Paragraphs>
  <Slides>14</Slides>
  <Notes>3</Notes>
  <HiddenSlides>0</HiddenSlides>
  <MMClips>0</MMClips>
  <ScaleCrop>false</ScaleCrop>
  <HeadingPairs>
    <vt:vector size="6" baseType="variant">
      <vt:variant>
        <vt:lpstr>Použitá písma</vt:lpstr>
      </vt:variant>
      <vt:variant>
        <vt:i4>6</vt:i4>
      </vt:variant>
      <vt:variant>
        <vt:lpstr>Motiv</vt:lpstr>
      </vt:variant>
      <vt:variant>
        <vt:i4>6</vt:i4>
      </vt:variant>
      <vt:variant>
        <vt:lpstr>Nadpisy snímků</vt:lpstr>
      </vt:variant>
      <vt:variant>
        <vt:i4>14</vt:i4>
      </vt:variant>
    </vt:vector>
  </HeadingPairs>
  <TitlesOfParts>
    <vt:vector size="26" baseType="lpstr">
      <vt:lpstr>Aptos</vt:lpstr>
      <vt:lpstr>Arial</vt:lpstr>
      <vt:lpstr>Ebrima</vt:lpstr>
      <vt:lpstr>Inter</vt:lpstr>
      <vt:lpstr>Myriad Pro</vt:lpstr>
      <vt:lpstr>Tw Cen MT</vt:lpstr>
      <vt:lpstr>Axenta</vt:lpstr>
      <vt:lpstr>6_Axenta-ppt</vt:lpstr>
      <vt:lpstr>4_Axenta-ppt</vt:lpstr>
      <vt:lpstr>5_Axenta-ppt</vt:lpstr>
      <vt:lpstr>1_Axenta-ppt</vt:lpstr>
      <vt:lpstr>2_Axenta-ppt</vt:lpstr>
      <vt:lpstr>Od hrozby k odolnosti: kybernetická bezpečnost v kontextu dnešní doby -  těžko na cvičišti, lehko na bojišti</vt:lpstr>
      <vt:lpstr>Prezentace aplikace PowerPoint</vt:lpstr>
      <vt:lpstr>Co děláme? </vt:lpstr>
      <vt:lpstr>Technologická Spolupráce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yramida organizačních opatření</vt:lpstr>
      <vt:lpstr>Pyramida technických opatření</vt:lpstr>
      <vt:lpstr>Děkujeme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Petra Lichvárová</dc:creator>
  <cp:lastModifiedBy>Jan Kozák</cp:lastModifiedBy>
  <cp:revision>3</cp:revision>
  <dcterms:created xsi:type="dcterms:W3CDTF">2025-02-17T11:27:52Z</dcterms:created>
  <dcterms:modified xsi:type="dcterms:W3CDTF">2026-04-19T19:10:2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FF469AC57398847BCC0594C359D6610</vt:lpwstr>
  </property>
  <property fmtid="{D5CDD505-2E9C-101B-9397-08002B2CF9AE}" pid="3" name="MediaServiceImageTags">
    <vt:lpwstr/>
  </property>
</Properties>
</file>